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</p:sldMasterIdLst>
  <p:notesMasterIdLst>
    <p:notesMasterId r:id="rId17"/>
  </p:notesMasterIdLst>
  <p:handoutMasterIdLst>
    <p:handoutMasterId r:id="rId18"/>
  </p:handoutMasterIdLst>
  <p:sldIdLst>
    <p:sldId id="2146845808" r:id="rId9"/>
    <p:sldId id="2147470457" r:id="rId10"/>
    <p:sldId id="2147470456" r:id="rId11"/>
    <p:sldId id="2147470461" r:id="rId12"/>
    <p:sldId id="2147470458" r:id="rId13"/>
    <p:sldId id="2147470460" r:id="rId14"/>
    <p:sldId id="2147470459" r:id="rId15"/>
    <p:sldId id="2147470462" r:id="rId16"/>
  </p:sldIdLst>
  <p:sldSz cx="12192000" cy="6858000"/>
  <p:notesSz cx="6889750" cy="1002188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B05124-747A-40AB-92EB-8E491F059753}">
          <p14:sldIdLst>
            <p14:sldId id="2146845808"/>
            <p14:sldId id="2147470457"/>
            <p14:sldId id="2147470456"/>
            <p14:sldId id="2147470461"/>
            <p14:sldId id="2147470458"/>
            <p14:sldId id="2147470460"/>
            <p14:sldId id="2147470459"/>
          </p14:sldIdLst>
        </p14:section>
        <p14:section name="Attachments" id="{DC5D41D9-5F08-4681-81B2-B17F27AEBA0B}">
          <p14:sldIdLst>
            <p14:sldId id="2147470462"/>
          </p14:sldIdLst>
        </p14:section>
      </p14:sectionLst>
    </p:ex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 Gobby" initials="CG" lastIdx="1" clrIdx="0">
    <p:extLst>
      <p:ext uri="{19B8F6BF-5375-455C-9EA6-DF929625EA0E}">
        <p15:presenceInfo xmlns:p15="http://schemas.microsoft.com/office/powerpoint/2012/main" userId="S::carol.gobby@avanade.com::a387627e-405f-4fd4-9846-c234e27eff1b" providerId="AD"/>
      </p:ext>
    </p:extLst>
  </p:cmAuthor>
  <p:cmAuthor id="2" name="Jacqueline Schofield" initials="JS" lastIdx="54" clrIdx="1">
    <p:extLst>
      <p:ext uri="{19B8F6BF-5375-455C-9EA6-DF929625EA0E}">
        <p15:presenceInfo xmlns:p15="http://schemas.microsoft.com/office/powerpoint/2012/main" userId="S::j.schofield@avanade.com::c952f7e7-e177-4fab-8b93-78c4a382292b" providerId="AD"/>
      </p:ext>
    </p:extLst>
  </p:cmAuthor>
  <p:cmAuthor id="3" name="Jim Edwards" initials="JE" lastIdx="2" clrIdx="2">
    <p:extLst>
      <p:ext uri="{19B8F6BF-5375-455C-9EA6-DF929625EA0E}">
        <p15:presenceInfo xmlns:p15="http://schemas.microsoft.com/office/powerpoint/2012/main" userId="S::jim.edwards@avanade.com::02ec4613-e7be-4dee-ad87-b5feb747374b" providerId="AD"/>
      </p:ext>
    </p:extLst>
  </p:cmAuthor>
  <p:cmAuthor id="4" name="Filip Vanden Houte" initials="FVH" lastIdx="2" clrIdx="3">
    <p:extLst>
      <p:ext uri="{19B8F6BF-5375-455C-9EA6-DF929625EA0E}">
        <p15:presenceInfo xmlns:p15="http://schemas.microsoft.com/office/powerpoint/2012/main" userId="S::filip.vanden.houte@avanade.com::a6387236-20bc-4217-8b19-7418d881a191" providerId="AD"/>
      </p:ext>
    </p:extLst>
  </p:cmAuthor>
  <p:cmAuthor id="5" name="Andrew Moroney" initials="AM" lastIdx="6" clrIdx="4">
    <p:extLst>
      <p:ext uri="{19B8F6BF-5375-455C-9EA6-DF929625EA0E}">
        <p15:presenceInfo xmlns:p15="http://schemas.microsoft.com/office/powerpoint/2012/main" userId="S::andrew.moroney@avanade.com::86ef14ac-d045-460d-8084-1523882478d1" providerId="AD"/>
      </p:ext>
    </p:extLst>
  </p:cmAuthor>
  <p:cmAuthor id="6" name="Jarrod Jones" initials="JJ" lastIdx="2" clrIdx="5">
    <p:extLst>
      <p:ext uri="{19B8F6BF-5375-455C-9EA6-DF929625EA0E}">
        <p15:presenceInfo xmlns:p15="http://schemas.microsoft.com/office/powerpoint/2012/main" userId="S::jarrod.jones@avanade.com::3002b15d-8377-4a44-8c7b-08400fcd20bb" providerId="AD"/>
      </p:ext>
    </p:extLst>
  </p:cmAuthor>
  <p:cmAuthor id="7" name="Saul Darby" initials="SD" lastIdx="1" clrIdx="6">
    <p:extLst>
      <p:ext uri="{19B8F6BF-5375-455C-9EA6-DF929625EA0E}">
        <p15:presenceInfo xmlns:p15="http://schemas.microsoft.com/office/powerpoint/2012/main" userId="S::saul.darby@avanade.com::b080542e-3e54-4b03-90ae-2cae9fd3a872" providerId="AD"/>
      </p:ext>
    </p:extLst>
  </p:cmAuthor>
  <p:cmAuthor id="8" name="Lourens J. Swanepoel" initials="LJS" lastIdx="2" clrIdx="7">
    <p:extLst>
      <p:ext uri="{19B8F6BF-5375-455C-9EA6-DF929625EA0E}">
        <p15:presenceInfo xmlns:p15="http://schemas.microsoft.com/office/powerpoint/2012/main" userId="S::lourens.j.swanepoel@avanade.com::6cc7a089-c3ac-4a75-8405-22fbaed9bef0" providerId="AD"/>
      </p:ext>
    </p:extLst>
  </p:cmAuthor>
  <p:cmAuthor id="9" name="Dan McMahon" initials="DM" lastIdx="1" clrIdx="8">
    <p:extLst>
      <p:ext uri="{19B8F6BF-5375-455C-9EA6-DF929625EA0E}">
        <p15:presenceInfo xmlns:p15="http://schemas.microsoft.com/office/powerpoint/2012/main" userId="S::dan.mcmahon@avanade.com::499fe0ab-cec0-4c6c-ad98-5fa5d0fe01a8" providerId="AD"/>
      </p:ext>
    </p:extLst>
  </p:cmAuthor>
  <p:cmAuthor id="10" name="Luke Rainbow" initials="LR" lastIdx="19" clrIdx="9">
    <p:extLst>
      <p:ext uri="{19B8F6BF-5375-455C-9EA6-DF929625EA0E}">
        <p15:presenceInfo xmlns:p15="http://schemas.microsoft.com/office/powerpoint/2012/main" userId="S::luke.rainbow@avanade.com::049903d8-f8db-46db-addb-954ff6ee374f" providerId="AD"/>
      </p:ext>
    </p:extLst>
  </p:cmAuthor>
  <p:cmAuthor id="11" name="Jax Fong" initials="JF" lastIdx="8" clrIdx="10">
    <p:extLst>
      <p:ext uri="{19B8F6BF-5375-455C-9EA6-DF929625EA0E}">
        <p15:presenceInfo xmlns:p15="http://schemas.microsoft.com/office/powerpoint/2012/main" userId="S::jax.fong@avanade.com::3733a3cd-3389-42a7-a084-e1ffcc543b43" providerId="AD"/>
      </p:ext>
    </p:extLst>
  </p:cmAuthor>
  <p:cmAuthor id="12" name="Lawrence Liang" initials="LL" lastIdx="8" clrIdx="11">
    <p:extLst>
      <p:ext uri="{19B8F6BF-5375-455C-9EA6-DF929625EA0E}">
        <p15:presenceInfo xmlns:p15="http://schemas.microsoft.com/office/powerpoint/2012/main" userId="S::lawrence.liang@avanade.com::2356a4e8-4262-42d2-ba55-6d20cb1b5ea7" providerId="AD"/>
      </p:ext>
    </p:extLst>
  </p:cmAuthor>
  <p:cmAuthor id="13" name="Andrew Stahel" initials="AS" lastIdx="1" clrIdx="12">
    <p:extLst>
      <p:ext uri="{19B8F6BF-5375-455C-9EA6-DF929625EA0E}">
        <p15:presenceInfo xmlns:p15="http://schemas.microsoft.com/office/powerpoint/2012/main" userId="S::andrew.stahel@avanade.com::17f8a985-b65a-46cc-b06f-e8e70d6ac5c9" providerId="AD"/>
      </p:ext>
    </p:extLst>
  </p:cmAuthor>
  <p:cmAuthor id="14" name="Guillaume Noé" initials="GN" lastIdx="2" clrIdx="13">
    <p:extLst>
      <p:ext uri="{19B8F6BF-5375-455C-9EA6-DF929625EA0E}">
        <p15:presenceInfo xmlns:p15="http://schemas.microsoft.com/office/powerpoint/2012/main" userId="S::guillaume.noe@avanade.com::2f3c85c6-4f12-43d9-94a0-b6d097b615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C8040-07C1-4875-AA73-C826B9C5A680}" v="296" dt="2022-08-10T01:37:54.985"/>
    <p1510:client id="{836E4801-B4CD-42A9-825A-E175984727E4}" v="10" dt="2022-08-09T07:00:59.029"/>
    <p1510:client id="{B01A2A9C-B770-4F61-BDE2-526B2C854418}" v="17" dt="2022-08-10T02:56:30.382"/>
    <p1510:client id="{C7DA5476-638A-4BA9-A32D-A602E8A9D3BF}" v="1498" dt="2022-08-09T07:40:52.947"/>
    <p1510:client id="{E56A927D-80D2-42C0-B79E-F88998D0CA35}" v="759" dt="2022-08-10T02:03:14.4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6" d="100"/>
          <a:sy n="126" d="100"/>
        </p:scale>
        <p:origin x="672" y="103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a Bächtold" userId="42036acf-0ef8-4b7a-b5b1-f26c6f64563f" providerId="ADAL" clId="{C7DA5476-638A-4BA9-A32D-A602E8A9D3BF}"/>
    <pc:docChg chg="undo custSel addSld delSld modSld sldOrd">
      <pc:chgData name="Juliana Bächtold" userId="42036acf-0ef8-4b7a-b5b1-f26c6f64563f" providerId="ADAL" clId="{C7DA5476-638A-4BA9-A32D-A602E8A9D3BF}" dt="2022-08-09T07:40:52.947" v="1498" actId="20577"/>
      <pc:docMkLst>
        <pc:docMk/>
      </pc:docMkLst>
      <pc:sldChg chg="modSp mod">
        <pc:chgData name="Juliana Bächtold" userId="42036acf-0ef8-4b7a-b5b1-f26c6f64563f" providerId="ADAL" clId="{C7DA5476-638A-4BA9-A32D-A602E8A9D3BF}" dt="2022-08-09T06:15:30.394" v="13" actId="6549"/>
        <pc:sldMkLst>
          <pc:docMk/>
          <pc:sldMk cId="4118100888" sldId="2146845808"/>
        </pc:sldMkLst>
        <pc:spChg chg="mod">
          <ac:chgData name="Juliana Bächtold" userId="42036acf-0ef8-4b7a-b5b1-f26c6f64563f" providerId="ADAL" clId="{C7DA5476-638A-4BA9-A32D-A602E8A9D3BF}" dt="2022-08-09T06:15:30.394" v="13" actId="6549"/>
          <ac:spMkLst>
            <pc:docMk/>
            <pc:sldMk cId="4118100888" sldId="2146845808"/>
            <ac:spMk id="11" creationId="{6DDEEFC6-C43D-4558-AC36-A887E86E2F0F}"/>
          </ac:spMkLst>
        </pc:spChg>
      </pc:sldChg>
      <pc:sldChg chg="modSp mod ord">
        <pc:chgData name="Juliana Bächtold" userId="42036acf-0ef8-4b7a-b5b1-f26c6f64563f" providerId="ADAL" clId="{C7DA5476-638A-4BA9-A32D-A602E8A9D3BF}" dt="2022-08-09T07:11:47.102" v="1214"/>
        <pc:sldMkLst>
          <pc:docMk/>
          <pc:sldMk cId="1386769039" sldId="2147470456"/>
        </pc:sldMkLst>
        <pc:graphicFrameChg chg="mod modGraphic">
          <ac:chgData name="Juliana Bächtold" userId="42036acf-0ef8-4b7a-b5b1-f26c6f64563f" providerId="ADAL" clId="{C7DA5476-638A-4BA9-A32D-A602E8A9D3BF}" dt="2022-08-09T07:11:47.102" v="1214"/>
          <ac:graphicFrameMkLst>
            <pc:docMk/>
            <pc:sldMk cId="1386769039" sldId="2147470456"/>
            <ac:graphicFrameMk id="28" creationId="{9F5F7011-A563-9DAF-23F2-226FD15E8FC9}"/>
          </ac:graphicFrameMkLst>
        </pc:graphicFrameChg>
      </pc:sldChg>
      <pc:sldChg chg="modSp mod">
        <pc:chgData name="Juliana Bächtold" userId="42036acf-0ef8-4b7a-b5b1-f26c6f64563f" providerId="ADAL" clId="{C7DA5476-638A-4BA9-A32D-A602E8A9D3BF}" dt="2022-08-09T07:00:51.786" v="1107" actId="2165"/>
        <pc:sldMkLst>
          <pc:docMk/>
          <pc:sldMk cId="1627358404" sldId="2147470457"/>
        </pc:sldMkLst>
        <pc:graphicFrameChg chg="mod modGraphic">
          <ac:chgData name="Juliana Bächtold" userId="42036acf-0ef8-4b7a-b5b1-f26c6f64563f" providerId="ADAL" clId="{C7DA5476-638A-4BA9-A32D-A602E8A9D3BF}" dt="2022-08-09T06:22:44.351" v="92" actId="1076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">
          <ac:chgData name="Juliana Bächtold" userId="42036acf-0ef8-4b7a-b5b1-f26c6f64563f" providerId="ADAL" clId="{C7DA5476-638A-4BA9-A32D-A602E8A9D3BF}" dt="2022-08-09T06:16:52.208" v="59" actId="1035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42.017" v="1106" actId="13926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00:51.786" v="1107" actId="216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6:59:59.795" v="1066" actId="20577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Juliana Bächtold" userId="42036acf-0ef8-4b7a-b5b1-f26c6f64563f" providerId="ADAL" clId="{C7DA5476-638A-4BA9-A32D-A602E8A9D3BF}" dt="2022-08-09T07:11:07.414" v="1211" actId="20577"/>
        <pc:sldMkLst>
          <pc:docMk/>
          <pc:sldMk cId="2493293888" sldId="2147470458"/>
        </pc:sldMkLst>
        <pc:spChg chg="mod">
          <ac:chgData name="Juliana Bächtold" userId="42036acf-0ef8-4b7a-b5b1-f26c6f64563f" providerId="ADAL" clId="{C7DA5476-638A-4BA9-A32D-A602E8A9D3BF}" dt="2022-08-09T06:22:23.443" v="91" actId="1076"/>
          <ac:spMkLst>
            <pc:docMk/>
            <pc:sldMk cId="2493293888" sldId="2147470458"/>
            <ac:spMk id="3" creationId="{20277EBF-2535-4910-80E8-064E3E9DE825}"/>
          </ac:spMkLst>
        </pc:spChg>
        <pc:spChg chg="mod ord">
          <ac:chgData name="Juliana Bächtold" userId="42036acf-0ef8-4b7a-b5b1-f26c6f64563f" providerId="ADAL" clId="{C7DA5476-638A-4BA9-A32D-A602E8A9D3BF}" dt="2022-08-09T07:11:07.414" v="1211" actId="20577"/>
          <ac:spMkLst>
            <pc:docMk/>
            <pc:sldMk cId="2493293888" sldId="2147470458"/>
            <ac:spMk id="9" creationId="{027969DA-02B8-9C03-AEC1-EC87D23315E3}"/>
          </ac:spMkLst>
        </pc:spChg>
        <pc:spChg chg="del">
          <ac:chgData name="Juliana Bächtold" userId="42036acf-0ef8-4b7a-b5b1-f26c6f64563f" providerId="ADAL" clId="{C7DA5476-638A-4BA9-A32D-A602E8A9D3BF}" dt="2022-08-09T06:22:54.274" v="93" actId="478"/>
          <ac:spMkLst>
            <pc:docMk/>
            <pc:sldMk cId="2493293888" sldId="2147470458"/>
            <ac:spMk id="11" creationId="{9736381C-F5A5-AC64-1632-9D8A9448A683}"/>
          </ac:spMkLst>
        </pc:spChg>
        <pc:picChg chg="add mod">
          <ac:chgData name="Juliana Bächtold" userId="42036acf-0ef8-4b7a-b5b1-f26c6f64563f" providerId="ADAL" clId="{C7DA5476-638A-4BA9-A32D-A602E8A9D3BF}" dt="2022-08-09T06:24:50.128" v="95" actId="1076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addSp delSp modSp mod">
        <pc:chgData name="Juliana Bächtold" userId="42036acf-0ef8-4b7a-b5b1-f26c6f64563f" providerId="ADAL" clId="{C7DA5476-638A-4BA9-A32D-A602E8A9D3BF}" dt="2022-08-09T07:40:52.947" v="1498" actId="20577"/>
        <pc:sldMkLst>
          <pc:docMk/>
          <pc:sldMk cId="3920466892" sldId="2147470459"/>
        </pc:sldMkLst>
        <pc:spChg chg="add del mod">
          <ac:chgData name="Juliana Bächtold" userId="42036acf-0ef8-4b7a-b5b1-f26c6f64563f" providerId="ADAL" clId="{C7DA5476-638A-4BA9-A32D-A602E8A9D3BF}" dt="2022-08-09T07:22:35.104" v="1300" actId="478"/>
          <ac:spMkLst>
            <pc:docMk/>
            <pc:sldMk cId="3920466892" sldId="2147470459"/>
            <ac:spMk id="3" creationId="{810C67E4-1391-6022-1D93-C9D8BFA94D2D}"/>
          </ac:spMkLst>
        </pc:spChg>
        <pc:spChg chg="add mod">
          <ac:chgData name="Juliana Bächtold" userId="42036acf-0ef8-4b7a-b5b1-f26c6f64563f" providerId="ADAL" clId="{C7DA5476-638A-4BA9-A32D-A602E8A9D3BF}" dt="2022-08-09T07:40:52.947" v="1498" actId="20577"/>
          <ac:spMkLst>
            <pc:docMk/>
            <pc:sldMk cId="3920466892" sldId="2147470459"/>
            <ac:spMk id="4" creationId="{FB0E6601-D796-4960-1750-63D184C62F26}"/>
          </ac:spMkLst>
        </pc:spChg>
        <pc:graphicFrameChg chg="modGraphic">
          <ac:chgData name="Juliana Bächtold" userId="42036acf-0ef8-4b7a-b5b1-f26c6f64563f" providerId="ADAL" clId="{C7DA5476-638A-4BA9-A32D-A602E8A9D3BF}" dt="2022-08-09T07:38:18.730" v="1481" actId="20577"/>
          <ac:graphicFrameMkLst>
            <pc:docMk/>
            <pc:sldMk cId="3920466892" sldId="2147470459"/>
            <ac:graphicFrameMk id="2" creationId="{062258C8-6C3A-53EB-9186-4F2441367F63}"/>
          </ac:graphicFrameMkLst>
        </pc:graphicFrameChg>
        <pc:graphicFrameChg chg="mod modGraphic">
          <ac:chgData name="Juliana Bächtold" userId="42036acf-0ef8-4b7a-b5b1-f26c6f64563f" providerId="ADAL" clId="{C7DA5476-638A-4BA9-A32D-A602E8A9D3BF}" dt="2022-08-09T07:37:11.360" v="1462"/>
          <ac:graphicFrameMkLst>
            <pc:docMk/>
            <pc:sldMk cId="3920466892" sldId="2147470459"/>
            <ac:graphicFrameMk id="28" creationId="{9F5F7011-A563-9DAF-23F2-226FD15E8FC9}"/>
          </ac:graphicFrameMkLst>
        </pc:graphicFrameChg>
      </pc:sldChg>
      <pc:sldChg chg="del">
        <pc:chgData name="Juliana Bächtold" userId="42036acf-0ef8-4b7a-b5b1-f26c6f64563f" providerId="ADAL" clId="{C7DA5476-638A-4BA9-A32D-A602E8A9D3BF}" dt="2022-08-09T07:11:17.602" v="1212" actId="47"/>
        <pc:sldMkLst>
          <pc:docMk/>
          <pc:sldMk cId="1649174711" sldId="2147470461"/>
        </pc:sldMkLst>
      </pc:sldChg>
      <pc:sldChg chg="delSp modSp add mod">
        <pc:chgData name="Juliana Bächtold" userId="42036acf-0ef8-4b7a-b5b1-f26c6f64563f" providerId="ADAL" clId="{C7DA5476-638A-4BA9-A32D-A602E8A9D3BF}" dt="2022-08-09T07:13:34.358" v="1252" actId="478"/>
        <pc:sldMkLst>
          <pc:docMk/>
          <pc:sldMk cId="2308514240" sldId="2147470461"/>
        </pc:sldMkLst>
        <pc:spChg chg="mod">
          <ac:chgData name="Juliana Bächtold" userId="42036acf-0ef8-4b7a-b5b1-f26c6f64563f" providerId="ADAL" clId="{C7DA5476-638A-4BA9-A32D-A602E8A9D3BF}" dt="2022-08-09T07:13:30.532" v="1251" actId="20577"/>
          <ac:spMkLst>
            <pc:docMk/>
            <pc:sldMk cId="2308514240" sldId="2147470461"/>
            <ac:spMk id="6" creationId="{ADD7D3D0-A076-4CAC-8EBC-578C414319BE}"/>
          </ac:spMkLst>
        </pc:spChg>
        <pc:graphicFrameChg chg="del">
          <ac:chgData name="Juliana Bächtold" userId="42036acf-0ef8-4b7a-b5b1-f26c6f64563f" providerId="ADAL" clId="{C7DA5476-638A-4BA9-A32D-A602E8A9D3BF}" dt="2022-08-09T07:13:34.358" v="1252" actId="478"/>
          <ac:graphicFrameMkLst>
            <pc:docMk/>
            <pc:sldMk cId="2308514240" sldId="2147470461"/>
            <ac:graphicFrameMk id="28" creationId="{9F5F7011-A563-9DAF-23F2-226FD15E8FC9}"/>
          </ac:graphicFrameMkLst>
        </pc:graphicFrameChg>
      </pc:sldChg>
      <pc:sldChg chg="add del">
        <pc:chgData name="Juliana Bächtold" userId="42036acf-0ef8-4b7a-b5b1-f26c6f64563f" providerId="ADAL" clId="{C7DA5476-638A-4BA9-A32D-A602E8A9D3BF}" dt="2022-08-09T06:21:58.393" v="86" actId="47"/>
        <pc:sldMkLst>
          <pc:docMk/>
          <pc:sldMk cId="624358734" sldId="2147470462"/>
        </pc:sldMkLst>
      </pc:sldChg>
      <pc:sldChg chg="new del">
        <pc:chgData name="Juliana Bächtold" userId="42036acf-0ef8-4b7a-b5b1-f26c6f64563f" providerId="ADAL" clId="{C7DA5476-638A-4BA9-A32D-A602E8A9D3BF}" dt="2022-08-09T06:21:38.579" v="84" actId="680"/>
        <pc:sldMkLst>
          <pc:docMk/>
          <pc:sldMk cId="2681804062" sldId="2147470462"/>
        </pc:sldMkLst>
      </pc:sldChg>
    </pc:docChg>
  </pc:docChgLst>
  <pc:docChgLst>
    <pc:chgData name="Alex Bondarenko" userId="13ce5e32-3dab-4a17-85d0-dd28ac84fb45" providerId="ADAL" clId="{B01A2A9C-B770-4F61-BDE2-526B2C854418}"/>
    <pc:docChg chg="undo custSel modSld">
      <pc:chgData name="Alex Bondarenko" userId="13ce5e32-3dab-4a17-85d0-dd28ac84fb45" providerId="ADAL" clId="{B01A2A9C-B770-4F61-BDE2-526B2C854418}" dt="2022-08-10T03:30:05.549" v="493" actId="6549"/>
      <pc:docMkLst>
        <pc:docMk/>
      </pc:docMkLst>
      <pc:sldChg chg="modSp mod">
        <pc:chgData name="Alex Bondarenko" userId="13ce5e32-3dab-4a17-85d0-dd28ac84fb45" providerId="ADAL" clId="{B01A2A9C-B770-4F61-BDE2-526B2C854418}" dt="2022-08-10T02:08:15.405" v="43" actId="20577"/>
        <pc:sldMkLst>
          <pc:docMk/>
          <pc:sldMk cId="4118100888" sldId="2146845808"/>
        </pc:sldMkLst>
        <pc:spChg chg="mod">
          <ac:chgData name="Alex Bondarenko" userId="13ce5e32-3dab-4a17-85d0-dd28ac84fb45" providerId="ADAL" clId="{B01A2A9C-B770-4F61-BDE2-526B2C854418}" dt="2022-08-10T02:08:15.405" v="43" actId="20577"/>
          <ac:spMkLst>
            <pc:docMk/>
            <pc:sldMk cId="4118100888" sldId="2146845808"/>
            <ac:spMk id="11" creationId="{6DDEEFC6-C43D-4558-AC36-A887E86E2F0F}"/>
          </ac:spMkLst>
        </pc:spChg>
      </pc:sldChg>
      <pc:sldChg chg="modNotesTx">
        <pc:chgData name="Alex Bondarenko" userId="13ce5e32-3dab-4a17-85d0-dd28ac84fb45" providerId="ADAL" clId="{B01A2A9C-B770-4F61-BDE2-526B2C854418}" dt="2022-08-10T03:30:05.549" v="493" actId="6549"/>
        <pc:sldMkLst>
          <pc:docMk/>
          <pc:sldMk cId="1386769039" sldId="2147470456"/>
        </pc:sldMkLst>
      </pc:sldChg>
      <pc:sldChg chg="delSp modSp mod">
        <pc:chgData name="Alex Bondarenko" userId="13ce5e32-3dab-4a17-85d0-dd28ac84fb45" providerId="ADAL" clId="{B01A2A9C-B770-4F61-BDE2-526B2C854418}" dt="2022-08-10T02:41:41.570" v="361" actId="20577"/>
        <pc:sldMkLst>
          <pc:docMk/>
          <pc:sldMk cId="1627358404" sldId="2147470457"/>
        </pc:sldMkLst>
        <pc:spChg chg="mod">
          <ac:chgData name="Alex Bondarenko" userId="13ce5e32-3dab-4a17-85d0-dd28ac84fb45" providerId="ADAL" clId="{B01A2A9C-B770-4F61-BDE2-526B2C854418}" dt="2022-08-10T02:08:04.233" v="33" actId="20577"/>
          <ac:spMkLst>
            <pc:docMk/>
            <pc:sldMk cId="1627358404" sldId="2147470457"/>
            <ac:spMk id="3" creationId="{20277EBF-2535-4910-80E8-064E3E9DE825}"/>
          </ac:spMkLst>
        </pc:spChg>
        <pc:graphicFrameChg chg="mod modGraphic">
          <ac:chgData name="Alex Bondarenko" userId="13ce5e32-3dab-4a17-85d0-dd28ac84fb45" providerId="ADAL" clId="{B01A2A9C-B770-4F61-BDE2-526B2C854418}" dt="2022-08-10T02:36:46.975" v="238" actId="20577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 modGraphic">
          <ac:chgData name="Alex Bondarenko" userId="13ce5e32-3dab-4a17-85d0-dd28ac84fb45" providerId="ADAL" clId="{B01A2A9C-B770-4F61-BDE2-526B2C854418}" dt="2022-08-10T02:39:01.813" v="257" actId="113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Alex Bondarenko" userId="13ce5e32-3dab-4a17-85d0-dd28ac84fb45" providerId="ADAL" clId="{B01A2A9C-B770-4F61-BDE2-526B2C854418}" dt="2022-08-10T02:29:44.219" v="48" actId="2057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del modGraphic">
          <ac:chgData name="Alex Bondarenko" userId="13ce5e32-3dab-4a17-85d0-dd28ac84fb45" providerId="ADAL" clId="{B01A2A9C-B770-4F61-BDE2-526B2C854418}" dt="2022-08-10T02:30:09.872" v="52" actId="478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Graphic">
          <ac:chgData name="Alex Bondarenko" userId="13ce5e32-3dab-4a17-85d0-dd28ac84fb45" providerId="ADAL" clId="{B01A2A9C-B770-4F61-BDE2-526B2C854418}" dt="2022-08-10T02:41:41.570" v="361" actId="20577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modSp mod">
        <pc:chgData name="Alex Bondarenko" userId="13ce5e32-3dab-4a17-85d0-dd28ac84fb45" providerId="ADAL" clId="{B01A2A9C-B770-4F61-BDE2-526B2C854418}" dt="2022-08-10T02:58:18.211" v="483" actId="20577"/>
        <pc:sldMkLst>
          <pc:docMk/>
          <pc:sldMk cId="2493293888" sldId="2147470458"/>
        </pc:sldMkLst>
        <pc:spChg chg="mod">
          <ac:chgData name="Alex Bondarenko" userId="13ce5e32-3dab-4a17-85d0-dd28ac84fb45" providerId="ADAL" clId="{B01A2A9C-B770-4F61-BDE2-526B2C854418}" dt="2022-08-10T02:41:59.313" v="362"/>
          <ac:spMkLst>
            <pc:docMk/>
            <pc:sldMk cId="2493293888" sldId="2147470458"/>
            <ac:spMk id="3" creationId="{20277EBF-2535-4910-80E8-064E3E9DE825}"/>
          </ac:spMkLst>
        </pc:spChg>
        <pc:spChg chg="mod">
          <ac:chgData name="Alex Bondarenko" userId="13ce5e32-3dab-4a17-85d0-dd28ac84fb45" providerId="ADAL" clId="{B01A2A9C-B770-4F61-BDE2-526B2C854418}" dt="2022-08-10T02:58:18.211" v="483" actId="20577"/>
          <ac:spMkLst>
            <pc:docMk/>
            <pc:sldMk cId="2493293888" sldId="2147470458"/>
            <ac:spMk id="14" creationId="{702D4382-8966-C9A0-BB96-326463A9B9DF}"/>
          </ac:spMkLst>
        </pc:spChg>
        <pc:graphicFrameChg chg="mod modGraphic">
          <ac:chgData name="Alex Bondarenko" userId="13ce5e32-3dab-4a17-85d0-dd28ac84fb45" providerId="ADAL" clId="{B01A2A9C-B770-4F61-BDE2-526B2C854418}" dt="2022-08-10T02:56:57.609" v="475" actId="2165"/>
          <ac:graphicFrameMkLst>
            <pc:docMk/>
            <pc:sldMk cId="2493293888" sldId="2147470458"/>
            <ac:graphicFrameMk id="12" creationId="{2818A85C-43EC-C651-505D-D24858297A97}"/>
          </ac:graphicFrameMkLst>
        </pc:graphicFrameChg>
        <pc:graphicFrameChg chg="modGraphic">
          <ac:chgData name="Alex Bondarenko" userId="13ce5e32-3dab-4a17-85d0-dd28ac84fb45" providerId="ADAL" clId="{B01A2A9C-B770-4F61-BDE2-526B2C854418}" dt="2022-08-10T02:51:19.249" v="408" actId="6549"/>
          <ac:graphicFrameMkLst>
            <pc:docMk/>
            <pc:sldMk cId="2493293888" sldId="2147470458"/>
            <ac:graphicFrameMk id="13" creationId="{205200EE-8486-4C0B-98C8-7B96C2CD50CA}"/>
          </ac:graphicFrameMkLst>
        </pc:graphicFrameChg>
      </pc:sldChg>
      <pc:sldChg chg="modNotesTx">
        <pc:chgData name="Alex Bondarenko" userId="13ce5e32-3dab-4a17-85d0-dd28ac84fb45" providerId="ADAL" clId="{B01A2A9C-B770-4F61-BDE2-526B2C854418}" dt="2022-08-10T03:29:53.039" v="491" actId="6549"/>
        <pc:sldMkLst>
          <pc:docMk/>
          <pc:sldMk cId="3920466892" sldId="2147470459"/>
        </pc:sldMkLst>
      </pc:sldChg>
      <pc:sldChg chg="modSp mod">
        <pc:chgData name="Alex Bondarenko" userId="13ce5e32-3dab-4a17-85d0-dd28ac84fb45" providerId="ADAL" clId="{B01A2A9C-B770-4F61-BDE2-526B2C854418}" dt="2022-08-10T02:42:40.238" v="378" actId="20577"/>
        <pc:sldMkLst>
          <pc:docMk/>
          <pc:sldMk cId="540546277" sldId="2147470460"/>
        </pc:sldMkLst>
        <pc:spChg chg="mod">
          <ac:chgData name="Alex Bondarenko" userId="13ce5e32-3dab-4a17-85d0-dd28ac84fb45" providerId="ADAL" clId="{B01A2A9C-B770-4F61-BDE2-526B2C854418}" dt="2022-08-10T02:42:40.238" v="378" actId="20577"/>
          <ac:spMkLst>
            <pc:docMk/>
            <pc:sldMk cId="540546277" sldId="2147470460"/>
            <ac:spMk id="6" creationId="{ADD7D3D0-A076-4CAC-8EBC-578C414319BE}"/>
          </ac:spMkLst>
        </pc:spChg>
      </pc:sldChg>
      <pc:sldChg chg="modNotesTx">
        <pc:chgData name="Alex Bondarenko" userId="13ce5e32-3dab-4a17-85d0-dd28ac84fb45" providerId="ADAL" clId="{B01A2A9C-B770-4F61-BDE2-526B2C854418}" dt="2022-08-10T03:30:00.782" v="492" actId="6549"/>
        <pc:sldMkLst>
          <pc:docMk/>
          <pc:sldMk cId="2308514240" sldId="2147470461"/>
        </pc:sldMkLst>
      </pc:sldChg>
      <pc:sldChg chg="addSp delSp modSp mod modNotesTx">
        <pc:chgData name="Alex Bondarenko" userId="13ce5e32-3dab-4a17-85d0-dd28ac84fb45" providerId="ADAL" clId="{B01A2A9C-B770-4F61-BDE2-526B2C854418}" dt="2022-08-10T03:29:48.748" v="490" actId="20577"/>
        <pc:sldMkLst>
          <pc:docMk/>
          <pc:sldMk cId="4221500222" sldId="2147470462"/>
        </pc:sldMkLst>
        <pc:spChg chg="mod">
          <ac:chgData name="Alex Bondarenko" userId="13ce5e32-3dab-4a17-85d0-dd28ac84fb45" providerId="ADAL" clId="{B01A2A9C-B770-4F61-BDE2-526B2C854418}" dt="2022-08-10T02:47:00.234" v="392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add del mod">
          <ac:chgData name="Alex Bondarenko" userId="13ce5e32-3dab-4a17-85d0-dd28ac84fb45" providerId="ADAL" clId="{B01A2A9C-B770-4F61-BDE2-526B2C854418}" dt="2022-08-10T02:45:23.389" v="382"/>
          <ac:graphicFrameMkLst>
            <pc:docMk/>
            <pc:sldMk cId="4221500222" sldId="2147470462"/>
            <ac:graphicFrameMk id="2" creationId="{D8121BBD-DAF4-8DAC-7E00-ED73D7D97D87}"/>
          </ac:graphicFrameMkLst>
        </pc:graphicFrameChg>
        <pc:graphicFrameChg chg="add del mod">
          <ac:chgData name="Alex Bondarenko" userId="13ce5e32-3dab-4a17-85d0-dd28ac84fb45" providerId="ADAL" clId="{B01A2A9C-B770-4F61-BDE2-526B2C854418}" dt="2022-08-10T02:45:40.066" v="384"/>
          <ac:graphicFrameMkLst>
            <pc:docMk/>
            <pc:sldMk cId="4221500222" sldId="2147470462"/>
            <ac:graphicFrameMk id="3" creationId="{88918615-ECE5-8A2F-6CFC-495D0E1496F9}"/>
          </ac:graphicFrameMkLst>
        </pc:graphicFrameChg>
        <pc:graphicFrameChg chg="add del mod">
          <ac:chgData name="Alex Bondarenko" userId="13ce5e32-3dab-4a17-85d0-dd28ac84fb45" providerId="ADAL" clId="{B01A2A9C-B770-4F61-BDE2-526B2C854418}" dt="2022-08-10T02:46:36.881" v="388"/>
          <ac:graphicFrameMkLst>
            <pc:docMk/>
            <pc:sldMk cId="4221500222" sldId="2147470462"/>
            <ac:graphicFrameMk id="4" creationId="{92847ED1-99A2-D942-9577-DEAA3DD92539}"/>
          </ac:graphicFrameMkLst>
        </pc:graphicFrameChg>
        <pc:graphicFrameChg chg="add del mod modGraphic">
          <ac:chgData name="Alex Bondarenko" userId="13ce5e32-3dab-4a17-85d0-dd28ac84fb45" providerId="ADAL" clId="{B01A2A9C-B770-4F61-BDE2-526B2C854418}" dt="2022-08-10T02:51:07.009" v="405" actId="14734"/>
          <ac:graphicFrameMkLst>
            <pc:docMk/>
            <pc:sldMk cId="4221500222" sldId="2147470462"/>
            <ac:graphicFrameMk id="10" creationId="{99B1502B-E235-F603-80EC-7E835C610A8A}"/>
          </ac:graphicFrameMkLst>
        </pc:graphicFrameChg>
      </pc:sldChg>
    </pc:docChg>
  </pc:docChgLst>
  <pc:docChgLst>
    <pc:chgData name="Alex Bondarenko" userId="S::oleksandr.bondarenko@avanade.com::13ce5e32-3dab-4a17-85d0-dd28ac84fb45" providerId="AD" clId="Web-{87CAD1F9-B95B-4706-86E3-9DCADEC8361E}"/>
    <pc:docChg chg="modSld">
      <pc:chgData name="Alex Bondarenko" userId="S::oleksandr.bondarenko@avanade.com::13ce5e32-3dab-4a17-85d0-dd28ac84fb45" providerId="AD" clId="Web-{87CAD1F9-B95B-4706-86E3-9DCADEC8361E}" dt="2022-08-08T23:51:15.977" v="39" actId="20577"/>
      <pc:docMkLst>
        <pc:docMk/>
      </pc:docMkLst>
      <pc:sldChg chg="modSp">
        <pc:chgData name="Alex Bondarenko" userId="S::oleksandr.bondarenko@avanade.com::13ce5e32-3dab-4a17-85d0-dd28ac84fb45" providerId="AD" clId="Web-{87CAD1F9-B95B-4706-86E3-9DCADEC8361E}" dt="2022-08-08T23:51:15.977" v="39" actId="20577"/>
        <pc:sldMkLst>
          <pc:docMk/>
          <pc:sldMk cId="2493293888" sldId="2147470458"/>
        </pc:sldMkLst>
        <pc:spChg chg="mod">
          <ac:chgData name="Alex Bondarenko" userId="S::oleksandr.bondarenko@avanade.com::13ce5e32-3dab-4a17-85d0-dd28ac84fb45" providerId="AD" clId="Web-{87CAD1F9-B95B-4706-86E3-9DCADEC8361E}" dt="2022-08-08T23:51:15.977" v="39" actId="20577"/>
          <ac:spMkLst>
            <pc:docMk/>
            <pc:sldMk cId="2493293888" sldId="2147470458"/>
            <ac:spMk id="9" creationId="{027969DA-02B8-9C03-AEC1-EC87D23315E3}"/>
          </ac:spMkLst>
        </pc:spChg>
        <pc:spChg chg="mod">
          <ac:chgData name="Alex Bondarenko" userId="S::oleksandr.bondarenko@avanade.com::13ce5e32-3dab-4a17-85d0-dd28ac84fb45" providerId="AD" clId="Web-{87CAD1F9-B95B-4706-86E3-9DCADEC8361E}" dt="2022-08-08T23:50:50.022" v="28" actId="20577"/>
          <ac:spMkLst>
            <pc:docMk/>
            <pc:sldMk cId="2493293888" sldId="2147470458"/>
            <ac:spMk id="11" creationId="{9736381C-F5A5-AC64-1632-9D8A9448A683}"/>
          </ac:spMkLst>
        </pc:spChg>
      </pc:sldChg>
    </pc:docChg>
  </pc:docChgLst>
  <pc:docChgLst>
    <pc:chgData name="Alex Bondarenko" userId="S::oleksandr.bondarenko@avanade.com::13ce5e32-3dab-4a17-85d0-dd28ac84fb45" providerId="AD" clId="Web-{2EDBD650-168C-49B7-AF63-ED1A946BFDFC}"/>
    <pc:docChg chg="modSld">
      <pc:chgData name="Alex Bondarenko" userId="S::oleksandr.bondarenko@avanade.com::13ce5e32-3dab-4a17-85d0-dd28ac84fb45" providerId="AD" clId="Web-{2EDBD650-168C-49B7-AF63-ED1A946BFDFC}" dt="2022-08-05T04:12:35.355" v="34" actId="1076"/>
      <pc:docMkLst>
        <pc:docMk/>
      </pc:docMkLst>
      <pc:sldChg chg="modSp">
        <pc:chgData name="Alex Bondarenko" userId="S::oleksandr.bondarenko@avanade.com::13ce5e32-3dab-4a17-85d0-dd28ac84fb45" providerId="AD" clId="Web-{2EDBD650-168C-49B7-AF63-ED1A946BFDFC}" dt="2022-08-05T04:12:35.355" v="34" actId="1076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2EDBD650-168C-49B7-AF63-ED1A946BFDFC}" dt="2022-08-05T04:12:18.870" v="31"/>
          <ac:graphicFrameMkLst>
            <pc:docMk/>
            <pc:sldMk cId="1627358404" sldId="2147470457"/>
            <ac:graphicFrameMk id="5" creationId="{8B05BAD0-C111-755E-CB01-652ED83A318A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1:58.088" v="13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25.636" v="3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mod modGraphic">
          <ac:chgData name="Alex Bondarenko" userId="S::oleksandr.bondarenko@avanade.com::13ce5e32-3dab-4a17-85d0-dd28ac84fb45" providerId="AD" clId="Web-{2EDBD650-168C-49B7-AF63-ED1A946BFDFC}" dt="2022-08-05T04:12:35.355" v="34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  <pc:docChgLst>
    <pc:chgData name="Alex Bondarenko" userId="13ce5e32-3dab-4a17-85d0-dd28ac84fb45" providerId="ADAL" clId="{E56A927D-80D2-42C0-B79E-F88998D0CA35}"/>
    <pc:docChg chg="undo custSel addSld delSld modSld addSection modSection">
      <pc:chgData name="Alex Bondarenko" userId="13ce5e32-3dab-4a17-85d0-dd28ac84fb45" providerId="ADAL" clId="{E56A927D-80D2-42C0-B79E-F88998D0CA35}" dt="2022-08-10T02:03:14.415" v="972" actId="3626"/>
      <pc:docMkLst>
        <pc:docMk/>
      </pc:docMkLst>
      <pc:sldChg chg="addSp delSp modSp mod">
        <pc:chgData name="Alex Bondarenko" userId="13ce5e32-3dab-4a17-85d0-dd28ac84fb45" providerId="ADAL" clId="{E56A927D-80D2-42C0-B79E-F88998D0CA35}" dt="2022-08-04T05:44:21.289" v="213" actId="20577"/>
        <pc:sldMkLst>
          <pc:docMk/>
          <pc:sldMk cId="1627358404" sldId="2147470457"/>
        </pc:sldMkLst>
        <pc:spChg chg="add del mod">
          <ac:chgData name="Alex Bondarenko" userId="13ce5e32-3dab-4a17-85d0-dd28ac84fb45" providerId="ADAL" clId="{E56A927D-80D2-42C0-B79E-F88998D0CA35}" dt="2022-08-04T05:43:07.442" v="188" actId="478"/>
          <ac:spMkLst>
            <pc:docMk/>
            <pc:sldMk cId="1627358404" sldId="2147470457"/>
            <ac:spMk id="9" creationId="{0C7D359A-14ED-3F20-F78A-AA3760A4EE73}"/>
          </ac:spMkLst>
        </pc:spChg>
        <pc:spChg chg="add del">
          <ac:chgData name="Alex Bondarenko" userId="13ce5e32-3dab-4a17-85d0-dd28ac84fb45" providerId="ADAL" clId="{E56A927D-80D2-42C0-B79E-F88998D0CA35}" dt="2022-08-04T05:40:40.801" v="134" actId="22"/>
          <ac:spMkLst>
            <pc:docMk/>
            <pc:sldMk cId="1627358404" sldId="2147470457"/>
            <ac:spMk id="11" creationId="{F60A6101-4B91-4204-959C-E8DC08BB15CA}"/>
          </ac:spMkLst>
        </pc:spChg>
        <pc:spChg chg="add del">
          <ac:chgData name="Alex Bondarenko" userId="13ce5e32-3dab-4a17-85d0-dd28ac84fb45" providerId="ADAL" clId="{E56A927D-80D2-42C0-B79E-F88998D0CA35}" dt="2022-08-04T05:40:44.347" v="136" actId="22"/>
          <ac:spMkLst>
            <pc:docMk/>
            <pc:sldMk cId="1627358404" sldId="2147470457"/>
            <ac:spMk id="13" creationId="{030447F5-3A95-D3A2-4A86-58B63B6285E0}"/>
          </ac:spMkLst>
        </pc:spChg>
        <pc:graphicFrameChg chg="mod">
          <ac:chgData name="Alex Bondarenko" userId="13ce5e32-3dab-4a17-85d0-dd28ac84fb45" providerId="ADAL" clId="{E56A927D-80D2-42C0-B79E-F88998D0CA35}" dt="2022-08-04T05:41:15.629" v="14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13ce5e32-3dab-4a17-85d0-dd28ac84fb45" providerId="ADAL" clId="{E56A927D-80D2-42C0-B79E-F88998D0CA35}" dt="2022-08-04T05:44:21.289" v="213" actId="20577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42:56.610" v="186" actId="1076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  <pc:sldChg chg="addSp delSp modSp mod">
        <pc:chgData name="Alex Bondarenko" userId="13ce5e32-3dab-4a17-85d0-dd28ac84fb45" providerId="ADAL" clId="{E56A927D-80D2-42C0-B79E-F88998D0CA35}" dt="2022-08-10T02:03:14.415" v="972" actId="3626"/>
        <pc:sldMkLst>
          <pc:docMk/>
          <pc:sldMk cId="2493293888" sldId="2147470458"/>
        </pc:sldMkLst>
        <pc:spChg chg="add mod">
          <ac:chgData name="Alex Bondarenko" userId="13ce5e32-3dab-4a17-85d0-dd28ac84fb45" providerId="ADAL" clId="{E56A927D-80D2-42C0-B79E-F88998D0CA35}" dt="2022-08-10T02:03:14.415" v="972" actId="3626"/>
          <ac:spMkLst>
            <pc:docMk/>
            <pc:sldMk cId="2493293888" sldId="2147470458"/>
            <ac:spMk id="14" creationId="{702D4382-8966-C9A0-BB96-326463A9B9DF}"/>
          </ac:spMkLst>
        </pc:spChg>
        <pc:graphicFrameChg chg="del">
          <ac:chgData name="Alex Bondarenko" userId="13ce5e32-3dab-4a17-85d0-dd28ac84fb45" providerId="ADAL" clId="{E56A927D-80D2-42C0-B79E-F88998D0CA35}" dt="2022-08-10T01:39:02.352" v="214" actId="21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graphicFrameChg chg="add del mod">
          <ac:chgData name="Alex Bondarenko" userId="13ce5e32-3dab-4a17-85d0-dd28ac84fb45" providerId="ADAL" clId="{E56A927D-80D2-42C0-B79E-F88998D0CA35}" dt="2022-08-10T01:39:49.027" v="218"/>
          <ac:graphicFrameMkLst>
            <pc:docMk/>
            <pc:sldMk cId="2493293888" sldId="2147470458"/>
            <ac:graphicFrameMk id="10" creationId="{C22C191D-3792-60DF-4748-0B49422FF1DE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6:32.025" v="844" actId="14100"/>
          <ac:graphicFrameMkLst>
            <pc:docMk/>
            <pc:sldMk cId="2493293888" sldId="2147470458"/>
            <ac:graphicFrameMk id="12" creationId="{2818A85C-43EC-C651-505D-D24858297A97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10T01:54:47.281" v="842" actId="20577"/>
          <ac:graphicFrameMkLst>
            <pc:docMk/>
            <pc:sldMk cId="2493293888" sldId="2147470458"/>
            <ac:graphicFrameMk id="13" creationId="{205200EE-8486-4C0B-98C8-7B96C2CD50CA}"/>
          </ac:graphicFrameMkLst>
        </pc:graphicFrameChg>
      </pc:sldChg>
      <pc:sldChg chg="modSp mod">
        <pc:chgData name="Alex Bondarenko" userId="13ce5e32-3dab-4a17-85d0-dd28ac84fb45" providerId="ADAL" clId="{E56A927D-80D2-42C0-B79E-F88998D0CA35}" dt="2022-08-10T01:55:38.107" v="843" actId="13926"/>
        <pc:sldMkLst>
          <pc:docMk/>
          <pc:sldMk cId="540546277" sldId="2147470460"/>
        </pc:sldMkLst>
        <pc:graphicFrameChg chg="modGraphic">
          <ac:chgData name="Alex Bondarenko" userId="13ce5e32-3dab-4a17-85d0-dd28ac84fb45" providerId="ADAL" clId="{E56A927D-80D2-42C0-B79E-F88998D0CA35}" dt="2022-08-10T01:55:38.107" v="843" actId="13926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  <pc:sldChg chg="addSp delSp modSp add mod">
        <pc:chgData name="Alex Bondarenko" userId="13ce5e32-3dab-4a17-85d0-dd28ac84fb45" providerId="ADAL" clId="{E56A927D-80D2-42C0-B79E-F88998D0CA35}" dt="2022-08-04T05:10:19.089" v="123" actId="20577"/>
        <pc:sldMkLst>
          <pc:docMk/>
          <pc:sldMk cId="1649174711" sldId="2147470461"/>
        </pc:sldMkLst>
        <pc:spChg chg="mod">
          <ac:chgData name="Alex Bondarenko" userId="13ce5e32-3dab-4a17-85d0-dd28ac84fb45" providerId="ADAL" clId="{E56A927D-80D2-42C0-B79E-F88998D0CA35}" dt="2022-08-04T04:46:37.402" v="30" actId="20577"/>
          <ac:spMkLst>
            <pc:docMk/>
            <pc:sldMk cId="1649174711" sldId="2147470461"/>
            <ac:spMk id="6" creationId="{ADD7D3D0-A076-4CAC-8EBC-578C414319BE}"/>
          </ac:spMkLst>
        </pc:spChg>
        <pc:graphicFrameChg chg="del">
          <ac:chgData name="Alex Bondarenko" userId="13ce5e32-3dab-4a17-85d0-dd28ac84fb45" providerId="ADAL" clId="{E56A927D-80D2-42C0-B79E-F88998D0CA35}" dt="2022-08-04T04:46:49.817" v="31" actId="478"/>
          <ac:graphicFrameMkLst>
            <pc:docMk/>
            <pc:sldMk cId="1649174711" sldId="2147470461"/>
            <ac:graphicFrameMk id="3" creationId="{2CE35D40-F363-C027-95FC-A662B505B57B}"/>
          </ac:graphicFrameMkLst>
        </pc:graphicFrameChg>
        <pc:graphicFrameChg chg="add mod modGraphic">
          <ac:chgData name="Alex Bondarenko" userId="13ce5e32-3dab-4a17-85d0-dd28ac84fb45" providerId="ADAL" clId="{E56A927D-80D2-42C0-B79E-F88998D0CA35}" dt="2022-08-04T05:10:19.089" v="123" actId="20577"/>
          <ac:graphicFrameMkLst>
            <pc:docMk/>
            <pc:sldMk cId="1649174711" sldId="2147470461"/>
            <ac:graphicFrameMk id="11" creationId="{1B344E73-34A5-BE72-35D3-9E55BBA4A090}"/>
          </ac:graphicFrameMkLst>
        </pc:graphicFrameChg>
      </pc:sldChg>
      <pc:sldChg chg="addSp modSp mod">
        <pc:chgData name="Alex Bondarenko" userId="13ce5e32-3dab-4a17-85d0-dd28ac84fb45" providerId="ADAL" clId="{E56A927D-80D2-42C0-B79E-F88998D0CA35}" dt="2022-08-10T02:02:42.500" v="971" actId="20577"/>
        <pc:sldMkLst>
          <pc:docMk/>
          <pc:sldMk cId="4221500222" sldId="2147470462"/>
        </pc:sldMkLst>
        <pc:spChg chg="mod">
          <ac:chgData name="Alex Bondarenko" userId="13ce5e32-3dab-4a17-85d0-dd28ac84fb45" providerId="ADAL" clId="{E56A927D-80D2-42C0-B79E-F88998D0CA35}" dt="2022-08-10T02:02:42.500" v="971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add mod">
          <ac:chgData name="Alex Bondarenko" userId="13ce5e32-3dab-4a17-85d0-dd28ac84fb45" providerId="ADAL" clId="{E56A927D-80D2-42C0-B79E-F88998D0CA35}" dt="2022-08-10T01:39:15.603" v="216" actId="1076"/>
          <ac:graphicFrameMkLst>
            <pc:docMk/>
            <pc:sldMk cId="4221500222" sldId="2147470462"/>
            <ac:graphicFrameMk id="10" creationId="{99B1502B-E235-F603-80EC-7E835C610A8A}"/>
          </ac:graphicFrameMkLst>
        </pc:graphicFrameChg>
      </pc:sldChg>
      <pc:sldChg chg="modSp new add del mod">
        <pc:chgData name="Alex Bondarenko" userId="13ce5e32-3dab-4a17-85d0-dd28ac84fb45" providerId="ADAL" clId="{E56A927D-80D2-42C0-B79E-F88998D0CA35}" dt="2022-08-10T02:00:54.258" v="967" actId="47"/>
        <pc:sldMkLst>
          <pc:docMk/>
          <pc:sldMk cId="3940746739" sldId="2147470463"/>
        </pc:sldMkLst>
        <pc:spChg chg="mod">
          <ac:chgData name="Alex Bondarenko" userId="13ce5e32-3dab-4a17-85d0-dd28ac84fb45" providerId="ADAL" clId="{E56A927D-80D2-42C0-B79E-F88998D0CA35}" dt="2022-08-10T01:57:14.772" v="852" actId="20577"/>
          <ac:spMkLst>
            <pc:docMk/>
            <pc:sldMk cId="3940746739" sldId="2147470463"/>
            <ac:spMk id="3" creationId="{0AA4754F-AC9A-874E-E88F-F8A22FE0FCF1}"/>
          </ac:spMkLst>
        </pc:spChg>
        <pc:spChg chg="mod">
          <ac:chgData name="Alex Bondarenko" userId="13ce5e32-3dab-4a17-85d0-dd28ac84fb45" providerId="ADAL" clId="{E56A927D-80D2-42C0-B79E-F88998D0CA35}" dt="2022-08-10T01:58:41.279" v="960" actId="20577"/>
          <ac:spMkLst>
            <pc:docMk/>
            <pc:sldMk cId="3940746739" sldId="2147470463"/>
            <ac:spMk id="4" creationId="{ECC746CF-A91E-CFE3-3531-FF84040812D5}"/>
          </ac:spMkLst>
        </pc:spChg>
      </pc:sldChg>
    </pc:docChg>
  </pc:docChgLst>
  <pc:docChgLst>
    <pc:chgData name="Alex Bondarenko" userId="S::oleksandr.bondarenko@avanade.com::13ce5e32-3dab-4a17-85d0-dd28ac84fb45" providerId="AD" clId="Web-{862DC2DB-2B25-44D9-8C24-8A8706F15798}"/>
    <pc:docChg chg="modSld">
      <pc:chgData name="Alex Bondarenko" userId="S::oleksandr.bondarenko@avanade.com::13ce5e32-3dab-4a17-85d0-dd28ac84fb45" providerId="AD" clId="Web-{862DC2DB-2B25-44D9-8C24-8A8706F15798}" dt="2022-08-04T04:44:41.822" v="19"/>
      <pc:docMkLst>
        <pc:docMk/>
      </pc:docMkLst>
      <pc:sldChg chg="modSp">
        <pc:chgData name="Alex Bondarenko" userId="S::oleksandr.bondarenko@avanade.com::13ce5e32-3dab-4a17-85d0-dd28ac84fb45" providerId="AD" clId="Web-{862DC2DB-2B25-44D9-8C24-8A8706F15798}" dt="2022-08-04T04:43:21.179" v="3"/>
        <pc:sldMkLst>
          <pc:docMk/>
          <pc:sldMk cId="1627358404" sldId="2147470457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3:21.179" v="3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modSp">
        <pc:chgData name="Alex Bondarenko" userId="S::oleksandr.bondarenko@avanade.com::13ce5e32-3dab-4a17-85d0-dd28ac84fb45" providerId="AD" clId="Web-{862DC2DB-2B25-44D9-8C24-8A8706F15798}" dt="2022-08-04T04:44:41.822" v="19"/>
        <pc:sldMkLst>
          <pc:docMk/>
          <pc:sldMk cId="540546277" sldId="2147470460"/>
        </pc:sldMkLst>
        <pc:graphicFrameChg chg="mod modGraphic">
          <ac:chgData name="Alex Bondarenko" userId="S::oleksandr.bondarenko@avanade.com::13ce5e32-3dab-4a17-85d0-dd28ac84fb45" providerId="AD" clId="Web-{862DC2DB-2B25-44D9-8C24-8A8706F15798}" dt="2022-08-04T04:44:41.822" v="19"/>
          <ac:graphicFrameMkLst>
            <pc:docMk/>
            <pc:sldMk cId="540546277" sldId="2147470460"/>
            <ac:graphicFrameMk id="3" creationId="{2CE35D40-F363-C027-95FC-A662B505B57B}"/>
          </ac:graphicFrameMkLst>
        </pc:graphicFrameChg>
      </pc:sldChg>
    </pc:docChg>
  </pc:docChgLst>
  <pc:docChgLst>
    <pc:chgData name="Alex Bondarenko" userId="S::oleksandr.bondarenko@avanade.com::13ce5e32-3dab-4a17-85d0-dd28ac84fb45" providerId="AD" clId="Web-{1F5C8040-07C1-4875-AA73-C826B9C5A680}"/>
    <pc:docChg chg="addSld modSld">
      <pc:chgData name="Alex Bondarenko" userId="S::oleksandr.bondarenko@avanade.com::13ce5e32-3dab-4a17-85d0-dd28ac84fb45" providerId="AD" clId="Web-{1F5C8040-07C1-4875-AA73-C826B9C5A680}" dt="2022-08-10T01:37:54.985" v="262"/>
      <pc:docMkLst>
        <pc:docMk/>
      </pc:docMkLst>
      <pc:sldChg chg="addSp delSp modSp">
        <pc:chgData name="Alex Bondarenko" userId="S::oleksandr.bondarenko@avanade.com::13ce5e32-3dab-4a17-85d0-dd28ac84fb45" providerId="AD" clId="Web-{1F5C8040-07C1-4875-AA73-C826B9C5A680}" dt="2022-08-10T01:31:55.414" v="220"/>
        <pc:sldMkLst>
          <pc:docMk/>
          <pc:sldMk cId="1627358404" sldId="2147470457"/>
        </pc:sldMkLst>
        <pc:graphicFrameChg chg="add del mod modGraphic">
          <ac:chgData name="Alex Bondarenko" userId="S::oleksandr.bondarenko@avanade.com::13ce5e32-3dab-4a17-85d0-dd28ac84fb45" providerId="AD" clId="Web-{1F5C8040-07C1-4875-AA73-C826B9C5A680}" dt="2022-08-10T01:28:30.776" v="72"/>
          <ac:graphicFrameMkLst>
            <pc:docMk/>
            <pc:sldMk cId="1627358404" sldId="2147470457"/>
            <ac:graphicFrameMk id="4" creationId="{A7B76699-B232-40B0-8B04-19208A9061FF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1:55.414" v="220"/>
          <ac:graphicFrameMkLst>
            <pc:docMk/>
            <pc:sldMk cId="1627358404" sldId="2147470457"/>
            <ac:graphicFrameMk id="6" creationId="{1BDBA10A-19B6-498A-770A-8FD09A6DC6A2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30:33.268" v="197"/>
          <ac:graphicFrameMkLst>
            <pc:docMk/>
            <pc:sldMk cId="1627358404" sldId="2147470457"/>
            <ac:graphicFrameMk id="7" creationId="{6B4F2774-2408-E37C-12E2-BA669C70231E}"/>
          </ac:graphicFrameMkLst>
        </pc:graphicFrameChg>
        <pc:graphicFrameChg chg="mod modGraphic">
          <ac:chgData name="Alex Bondarenko" userId="S::oleksandr.bondarenko@avanade.com::13ce5e32-3dab-4a17-85d0-dd28ac84fb45" providerId="AD" clId="Web-{1F5C8040-07C1-4875-AA73-C826B9C5A680}" dt="2022-08-10T01:29:43.124" v="185"/>
          <ac:graphicFrameMkLst>
            <pc:docMk/>
            <pc:sldMk cId="1627358404" sldId="2147470457"/>
            <ac:graphicFrameMk id="10" creationId="{A6BF71CE-DFA1-2C0B-B8B5-2B77BE8DA19D}"/>
          </ac:graphicFrameMkLst>
        </pc:graphicFrameChg>
      </pc:sldChg>
      <pc:sldChg chg="addSp delSp modSp">
        <pc:chgData name="Alex Bondarenko" userId="S::oleksandr.bondarenko@avanade.com::13ce5e32-3dab-4a17-85d0-dd28ac84fb45" providerId="AD" clId="Web-{1F5C8040-07C1-4875-AA73-C826B9C5A680}" dt="2022-08-10T01:37:02.278" v="230" actId="1076"/>
        <pc:sldMkLst>
          <pc:docMk/>
          <pc:sldMk cId="2493293888" sldId="2147470458"/>
        </pc:sldMkLst>
        <pc:spChg chg="del mod">
          <ac:chgData name="Alex Bondarenko" userId="S::oleksandr.bondarenko@avanade.com::13ce5e32-3dab-4a17-85d0-dd28ac84fb45" providerId="AD" clId="Web-{1F5C8040-07C1-4875-AA73-C826B9C5A680}" dt="2022-08-10T01:36:29.104" v="227"/>
          <ac:spMkLst>
            <pc:docMk/>
            <pc:sldMk cId="2493293888" sldId="2147470458"/>
            <ac:spMk id="4" creationId="{027F379C-8B3A-900B-BF61-F3FA39C5673D}"/>
          </ac:spMkLst>
        </pc:spChg>
        <pc:spChg chg="del mod">
          <ac:chgData name="Alex Bondarenko" userId="S::oleksandr.bondarenko@avanade.com::13ce5e32-3dab-4a17-85d0-dd28ac84fb45" providerId="AD" clId="Web-{1F5C8040-07C1-4875-AA73-C826B9C5A680}" dt="2022-08-10T01:32:24.025" v="222"/>
          <ac:spMkLst>
            <pc:docMk/>
            <pc:sldMk cId="2493293888" sldId="2147470458"/>
            <ac:spMk id="9" creationId="{027969DA-02B8-9C03-AEC1-EC87D23315E3}"/>
          </ac:spMkLst>
        </pc:spChg>
        <pc:graphicFrameChg chg="add del mod">
          <ac:chgData name="Alex Bondarenko" userId="S::oleksandr.bondarenko@avanade.com::13ce5e32-3dab-4a17-85d0-dd28ac84fb45" providerId="AD" clId="Web-{1F5C8040-07C1-4875-AA73-C826B9C5A680}" dt="2022-08-10T01:36:18.072" v="224"/>
          <ac:graphicFrameMkLst>
            <pc:docMk/>
            <pc:sldMk cId="2493293888" sldId="2147470458"/>
            <ac:graphicFrameMk id="6" creationId="{80F81C24-A01F-DA74-DE6D-35B49622AB39}"/>
          </ac:graphicFrameMkLst>
        </pc:graphicFrameChg>
        <pc:graphicFrameChg chg="add mod">
          <ac:chgData name="Alex Bondarenko" userId="S::oleksandr.bondarenko@avanade.com::13ce5e32-3dab-4a17-85d0-dd28ac84fb45" providerId="AD" clId="Web-{1F5C8040-07C1-4875-AA73-C826B9C5A680}" dt="2022-08-10T01:37:02.278" v="230" actId="1076"/>
          <ac:graphicFrameMkLst>
            <pc:docMk/>
            <pc:sldMk cId="2493293888" sldId="2147470458"/>
            <ac:graphicFrameMk id="8" creationId="{41C99527-DCB0-9AAC-31C5-56D1A7312158}"/>
          </ac:graphicFrameMkLst>
        </pc:graphicFrameChg>
        <pc:picChg chg="del">
          <ac:chgData name="Alex Bondarenko" userId="S::oleksandr.bondarenko@avanade.com::13ce5e32-3dab-4a17-85d0-dd28ac84fb45" providerId="AD" clId="Web-{1F5C8040-07C1-4875-AA73-C826B9C5A680}" dt="2022-08-10T01:36:22.604" v="225"/>
          <ac:picMkLst>
            <pc:docMk/>
            <pc:sldMk cId="2493293888" sldId="2147470458"/>
            <ac:picMk id="1026" creationId="{491A1FD3-E761-48E2-80F8-A5884AB88A99}"/>
          </ac:picMkLst>
        </pc:picChg>
      </pc:sldChg>
      <pc:sldChg chg="delSp modSp add">
        <pc:chgData name="Alex Bondarenko" userId="S::oleksandr.bondarenko@avanade.com::13ce5e32-3dab-4a17-85d0-dd28ac84fb45" providerId="AD" clId="Web-{1F5C8040-07C1-4875-AA73-C826B9C5A680}" dt="2022-08-10T01:37:54.985" v="262"/>
        <pc:sldMkLst>
          <pc:docMk/>
          <pc:sldMk cId="4221500222" sldId="2147470462"/>
        </pc:sldMkLst>
        <pc:spChg chg="del">
          <ac:chgData name="Alex Bondarenko" userId="S::oleksandr.bondarenko@avanade.com::13ce5e32-3dab-4a17-85d0-dd28ac84fb45" providerId="AD" clId="Web-{1F5C8040-07C1-4875-AA73-C826B9C5A680}" dt="2022-08-10T01:37:50.125" v="256"/>
          <ac:spMkLst>
            <pc:docMk/>
            <pc:sldMk cId="4221500222" sldId="2147470462"/>
            <ac:spMk id="4" creationId="{FB0E6601-D796-4960-1750-63D184C62F26}"/>
          </ac:spMkLst>
        </pc:spChg>
        <pc:spChg chg="mod">
          <ac:chgData name="Alex Bondarenko" userId="S::oleksandr.bondarenko@avanade.com::13ce5e32-3dab-4a17-85d0-dd28ac84fb45" providerId="AD" clId="Web-{1F5C8040-07C1-4875-AA73-C826B9C5A680}" dt="2022-08-10T01:37:44.796" v="255" actId="20577"/>
          <ac:spMkLst>
            <pc:docMk/>
            <pc:sldMk cId="4221500222" sldId="2147470462"/>
            <ac:spMk id="6" creationId="{ADD7D3D0-A076-4CAC-8EBC-578C414319BE}"/>
          </ac:spMkLst>
        </pc:spChg>
        <pc:graphicFrameChg chg="del mod modGraphic">
          <ac:chgData name="Alex Bondarenko" userId="S::oleksandr.bondarenko@avanade.com::13ce5e32-3dab-4a17-85d0-dd28ac84fb45" providerId="AD" clId="Web-{1F5C8040-07C1-4875-AA73-C826B9C5A680}" dt="2022-08-10T01:37:52.531" v="259"/>
          <ac:graphicFrameMkLst>
            <pc:docMk/>
            <pc:sldMk cId="4221500222" sldId="2147470462"/>
            <ac:graphicFrameMk id="2" creationId="{062258C8-6C3A-53EB-9186-4F2441367F63}"/>
          </ac:graphicFrameMkLst>
        </pc:graphicFrameChg>
        <pc:graphicFrameChg chg="del mod modGraphic">
          <ac:chgData name="Alex Bondarenko" userId="S::oleksandr.bondarenko@avanade.com::13ce5e32-3dab-4a17-85d0-dd28ac84fb45" providerId="AD" clId="Web-{1F5C8040-07C1-4875-AA73-C826B9C5A680}" dt="2022-08-10T01:37:54.985" v="262"/>
          <ac:graphicFrameMkLst>
            <pc:docMk/>
            <pc:sldMk cId="4221500222" sldId="2147470462"/>
            <ac:graphicFrameMk id="28" creationId="{9F5F7011-A563-9DAF-23F2-226FD15E8FC9}"/>
          </ac:graphicFrameMkLst>
        </pc:graphicFrameChg>
      </pc:sldChg>
    </pc:docChg>
  </pc:docChgLst>
  <pc:docChgLst>
    <pc:chgData name="Hitender Yadav" userId="e6279f1a-e786-49ac-b8dc-4881329cc4e8" providerId="ADAL" clId="{836E4801-B4CD-42A9-825A-E175984727E4}"/>
    <pc:docChg chg="modSld">
      <pc:chgData name="Hitender Yadav" userId="e6279f1a-e786-49ac-b8dc-4881329cc4e8" providerId="ADAL" clId="{836E4801-B4CD-42A9-825A-E175984727E4}" dt="2022-08-09T07:00:59.030" v="1" actId="404"/>
      <pc:docMkLst>
        <pc:docMk/>
      </pc:docMkLst>
      <pc:sldChg chg="modSp mod">
        <pc:chgData name="Hitender Yadav" userId="e6279f1a-e786-49ac-b8dc-4881329cc4e8" providerId="ADAL" clId="{836E4801-B4CD-42A9-825A-E175984727E4}" dt="2022-08-09T07:00:59.030" v="1" actId="404"/>
        <pc:sldMkLst>
          <pc:docMk/>
          <pc:sldMk cId="1627358404" sldId="2147470457"/>
        </pc:sldMkLst>
        <pc:graphicFrameChg chg="modGraphic">
          <ac:chgData name="Hitender Yadav" userId="e6279f1a-e786-49ac-b8dc-4881329cc4e8" providerId="ADAL" clId="{836E4801-B4CD-42A9-825A-E175984727E4}" dt="2022-08-09T07:00:59.030" v="1" actId="404"/>
          <ac:graphicFrameMkLst>
            <pc:docMk/>
            <pc:sldMk cId="1627358404" sldId="2147470457"/>
            <ac:graphicFrameMk id="14" creationId="{123CD4B3-7241-3BD1-DDF2-4AAFE883B69A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10/08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521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598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6593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8385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468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D415F4-5910-4A95-9C8B-5C8E7AE7B45E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. </a:t>
            </a:r>
            <a:endParaRPr lang="en-AU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0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C6E3B756-37E7-4B4D-A2B4-32D422D145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43"/>
          <a:stretch/>
        </p:blipFill>
        <p:spPr bwMode="auto">
          <a:xfrm flipH="1">
            <a:off x="6831" y="0"/>
            <a:ext cx="52350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28C33AE7-730D-4E16-97AB-FAA945E80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0" r="25320"/>
          <a:stretch/>
        </p:blipFill>
        <p:spPr bwMode="auto">
          <a:xfrm>
            <a:off x="0" y="0"/>
            <a:ext cx="60320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62A5F4-995F-4148-9843-F04736B93C25}"/>
              </a:ext>
            </a:extLst>
          </p:cNvPr>
          <p:cNvSpPr/>
          <p:nvPr/>
        </p:nvSpPr>
        <p:spPr>
          <a:xfrm>
            <a:off x="6831" y="0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A6F256-850E-44D7-AEFA-2E0CD2C75C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462337" y="0"/>
            <a:ext cx="8729663" cy="68580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17812B-589B-45E6-9443-3FBB38A53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18" y="6342070"/>
            <a:ext cx="1312223" cy="331466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DDEEFC6-C43D-4558-AC36-A887E86E2F0F}"/>
              </a:ext>
            </a:extLst>
          </p:cNvPr>
          <p:cNvSpPr txBox="1">
            <a:spLocks/>
          </p:cNvSpPr>
          <p:nvPr/>
        </p:nvSpPr>
        <p:spPr>
          <a:xfrm>
            <a:off x="4754880" y="1584000"/>
            <a:ext cx="7036627" cy="3599528"/>
          </a:xfrm>
          <a:prstGeom prst="rect">
            <a:avLst/>
          </a:prstGeom>
        </p:spPr>
        <p:txBody>
          <a:bodyPr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o Tinto </a:t>
            </a:r>
          </a:p>
          <a:p>
            <a:pPr>
              <a:spcBef>
                <a:spcPts val="0"/>
              </a:spcBef>
            </a:pP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stream #1</a:t>
            </a:r>
          </a:p>
          <a:p>
            <a:pPr>
              <a:spcBef>
                <a:spcPts val="0"/>
              </a:spcBef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ulnerability I4.1 RDP Session timeou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47BED0-07AF-4712-975C-7550266F020A}"/>
              </a:ext>
            </a:extLst>
          </p:cNvPr>
          <p:cNvSpPr txBox="1">
            <a:spLocks/>
          </p:cNvSpPr>
          <p:nvPr/>
        </p:nvSpPr>
        <p:spPr>
          <a:xfrm>
            <a:off x="5050789" y="4217445"/>
            <a:ext cx="6444808" cy="64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nd Approach</a:t>
            </a: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bg1"/>
                </a:solidFill>
                <a:latin typeface="Segoe UI"/>
                <a:cs typeface="Segoe UI"/>
              </a:rPr>
              <a:t>Commercial in confidence</a:t>
            </a:r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CD3FCD3D-9A6F-4B06-BE10-AACD9205A0E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613" y="6322050"/>
            <a:ext cx="1131724" cy="3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008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I4.1 RDP Session timeout - Overview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B05BAD0-C111-755E-CB01-652ED83A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313932"/>
              </p:ext>
            </p:extLst>
          </p:nvPr>
        </p:nvGraphicFramePr>
        <p:xfrm>
          <a:off x="381000" y="1120676"/>
          <a:ext cx="2943126" cy="21082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43126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Description and Cyber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Currently there is no time limit for idle or disconnected RDP sessions. This can increase risk of </a:t>
                      </a:r>
                      <a:r>
                        <a:rPr lang="en-AU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P Session Hijacking</a:t>
                      </a:r>
                    </a:p>
                    <a:p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DBA10A-19B6-498A-770A-8FD09A6DC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025184"/>
              </p:ext>
            </p:extLst>
          </p:nvPr>
        </p:nvGraphicFramePr>
        <p:xfrm>
          <a:off x="4205500" y="1118402"/>
          <a:ext cx="3402307" cy="21082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402307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How to det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b="0" dirty="0"/>
                        <a:t>PowerShell command can be executed on the server to confirm the 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limit for active but idle Remote Desktop Services  and time limit for disconnected session. </a:t>
                      </a:r>
                      <a:endParaRPr lang="en-AU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B4F2774-2408-E37C-12E2-BA669C702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250517"/>
              </p:ext>
            </p:extLst>
          </p:nvPr>
        </p:nvGraphicFramePr>
        <p:xfrm>
          <a:off x="381000" y="3440233"/>
          <a:ext cx="2943126" cy="15595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43126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/>
                        <a:t>How to F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t a time limit for disconnected and idle RDP sessions by configuring the appropriate GPO settings.</a:t>
                      </a:r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23CD4B3-7241-3BD1-DDF2-4AAFE883B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540159"/>
              </p:ext>
            </p:extLst>
          </p:nvPr>
        </p:nvGraphicFramePr>
        <p:xfrm>
          <a:off x="8397444" y="1118402"/>
          <a:ext cx="3250059" cy="23412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50059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235641">
                <a:tc>
                  <a:txBody>
                    <a:bodyPr/>
                    <a:lstStyle/>
                    <a:p>
                      <a:r>
                        <a:rPr lang="en-AU"/>
                        <a:t>Update Impact Assess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19755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) Is there a requirement to be logged in to the server for more than 24 hours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None/>
                      </a:pPr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358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Remediation approach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419084"/>
              </p:ext>
            </p:extLst>
          </p:nvPr>
        </p:nvGraphicFramePr>
        <p:xfrm>
          <a:off x="470518" y="864965"/>
          <a:ext cx="10608814" cy="499032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941411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90115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3067434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698812">
                  <a:extLst>
                    <a:ext uri="{9D8B030D-6E8A-4147-A177-3AD203B41FA5}">
                      <a16:colId xmlns:a16="http://schemas.microsoft.com/office/drawing/2014/main" val="1316714249"/>
                    </a:ext>
                  </a:extLst>
                </a:gridCol>
              </a:tblGrid>
              <a:tr h="370496">
                <a:tc>
                  <a:txBody>
                    <a:bodyPr/>
                    <a:lstStyle/>
                    <a:p>
                      <a:r>
                        <a:rPr lang="en-AU" sz="1600"/>
                        <a:t>Approa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Self-Servic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B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Interactiv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88246">
                <a:tc>
                  <a:txBody>
                    <a:bodyPr/>
                    <a:lstStyle/>
                    <a:p>
                      <a:r>
                        <a:rPr lang="en-AU" sz="140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Technical Impact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Recommended Criticality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Level 5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Level 4-5</a:t>
                      </a:r>
                    </a:p>
                    <a:p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Level 1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1095335">
                <a:tc>
                  <a:txBody>
                    <a:bodyPr/>
                    <a:lstStyle/>
                    <a:p>
                      <a:r>
                        <a:rPr lang="en-AU" sz="1400"/>
                        <a:t>Deployment wind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Flex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pp Owners to specif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 – Weekday/evening (7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B – Weekday/business hours (4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C – Weekend/Saturday 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D – Weekend/Sunday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  <a:tr h="312118">
                <a:tc>
                  <a:txBody>
                    <a:bodyPr/>
                    <a:lstStyle/>
                    <a:p>
                      <a:r>
                        <a:rPr lang="en-AU" sz="1400"/>
                        <a:t>Group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1-3 (workload basi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173720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Deployment Support during th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Deployment window not manag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 Server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Server 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401871"/>
                  </a:ext>
                </a:extLst>
              </a:tr>
              <a:tr h="327465">
                <a:tc>
                  <a:txBody>
                    <a:bodyPr/>
                    <a:lstStyle/>
                    <a:p>
                      <a:r>
                        <a:rPr lang="en-AU" sz="1400"/>
                        <a:t>Post Deployment Tes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751135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Post Change Ho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87730"/>
                  </a:ext>
                </a:extLst>
              </a:tr>
              <a:tr h="444569">
                <a:tc>
                  <a:txBody>
                    <a:bodyPr/>
                    <a:lstStyle/>
                    <a:p>
                      <a:r>
                        <a:rPr lang="en-AU" sz="1400"/>
                        <a:t>Post Change Support and Roll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493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7690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Communication - Scenarios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85142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5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I4.1 RDP Session timeout – Scope Definition</a:t>
            </a:r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2818A85C-43EC-C651-505D-D24858297A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618181"/>
              </p:ext>
            </p:extLst>
          </p:nvPr>
        </p:nvGraphicFramePr>
        <p:xfrm>
          <a:off x="380999" y="1003082"/>
          <a:ext cx="5642775" cy="292489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80925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015388">
                  <a:extLst>
                    <a:ext uri="{9D8B030D-6E8A-4147-A177-3AD203B41FA5}">
                      <a16:colId xmlns:a16="http://schemas.microsoft.com/office/drawing/2014/main" val="42437240"/>
                    </a:ext>
                  </a:extLst>
                </a:gridCol>
                <a:gridCol w="1746462">
                  <a:extLst>
                    <a:ext uri="{9D8B030D-6E8A-4147-A177-3AD203B41FA5}">
                      <a16:colId xmlns:a16="http://schemas.microsoft.com/office/drawing/2014/main" val="2038555110"/>
                    </a:ext>
                  </a:extLst>
                </a:gridCol>
              </a:tblGrid>
              <a:tr h="868089">
                <a:tc>
                  <a:txBody>
                    <a:bodyPr/>
                    <a:lstStyle/>
                    <a:p>
                      <a:r>
                        <a:rPr lang="en-AU"/>
                        <a:t>Operating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Number of Serv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868089">
                <a:tc>
                  <a:txBody>
                    <a:bodyPr/>
                    <a:lstStyle/>
                    <a:p>
                      <a:r>
                        <a:rPr lang="en-US" dirty="0"/>
                        <a:t>Windows Server 2016 and older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3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In-Scope for RDP Session timeou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1128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Windows Servers 2019,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2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Out-Scope for RDP Session timeout</a:t>
                      </a:r>
                      <a:r>
                        <a:rPr lang="en-AU" dirty="0">
                          <a:highlight>
                            <a:srgbClr val="FFFF00"/>
                          </a:highlight>
                        </a:rPr>
                        <a:t>(TBC) </a:t>
                      </a:r>
                    </a:p>
                    <a:p>
                      <a:pPr algn="ctr"/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629958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05200EE-8486-4C0B-98C8-7B96C2CD5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126632"/>
              </p:ext>
            </p:extLst>
          </p:nvPr>
        </p:nvGraphicFramePr>
        <p:xfrm>
          <a:off x="7628844" y="1003082"/>
          <a:ext cx="3991654" cy="343606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44370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347284">
                  <a:extLst>
                    <a:ext uri="{9D8B030D-6E8A-4147-A177-3AD203B41FA5}">
                      <a16:colId xmlns:a16="http://schemas.microsoft.com/office/drawing/2014/main" val="860925027"/>
                    </a:ext>
                  </a:extLst>
                </a:gridCol>
              </a:tblGrid>
              <a:tr h="493891">
                <a:tc>
                  <a:txBody>
                    <a:bodyPr/>
                    <a:lstStyle/>
                    <a:p>
                      <a:r>
                        <a:rPr lang="en-AU"/>
                        <a:t>Pilot selection  crite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Critic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Level 5-6 for Non-Pro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dirty="0"/>
                    </a:p>
                    <a:p>
                      <a:pPr marL="342900" indent="-342900">
                        <a:buAutoNum type="arabicPeriod"/>
                      </a:pPr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APA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424525"/>
                  </a:ext>
                </a:extLst>
              </a:tr>
              <a:tr h="80363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/>
                        <a:t>PC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AU" dirty="0"/>
                        <a:t>PCN servers are exclud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34638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02D4382-8966-C9A0-BB96-326463A9B9DF}"/>
              </a:ext>
            </a:extLst>
          </p:cNvPr>
          <p:cNvSpPr txBox="1"/>
          <p:nvPr/>
        </p:nvSpPr>
        <p:spPr>
          <a:xfrm>
            <a:off x="6267541" y="5160476"/>
            <a:ext cx="60952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Based on selection criteria 65 Pilot servers </a:t>
            </a:r>
            <a:r>
              <a:rPr lang="en-AU"/>
              <a:t>are pre-selected </a:t>
            </a:r>
            <a:r>
              <a:rPr lang="en-AU" dirty="0"/>
              <a:t>(see attachments).</a:t>
            </a:r>
          </a:p>
        </p:txBody>
      </p:sp>
    </p:spTree>
    <p:extLst>
      <p:ext uri="{BB962C8B-B14F-4D97-AF65-F5344CB8AC3E}">
        <p14:creationId xmlns:p14="http://schemas.microsoft.com/office/powerpoint/2010/main" val="2493293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RACI Matrix (to be updated)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CE35D40-F363-C027-95FC-A662B505B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783399"/>
              </p:ext>
            </p:extLst>
          </p:nvPr>
        </p:nvGraphicFramePr>
        <p:xfrm>
          <a:off x="381000" y="1219200"/>
          <a:ext cx="11130160" cy="30937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4640533">
                  <a:extLst>
                    <a:ext uri="{9D8B030D-6E8A-4147-A177-3AD203B41FA5}">
                      <a16:colId xmlns:a16="http://schemas.microsoft.com/office/drawing/2014/main" val="2027331975"/>
                    </a:ext>
                  </a:extLst>
                </a:gridCol>
                <a:gridCol w="1034715">
                  <a:extLst>
                    <a:ext uri="{9D8B030D-6E8A-4147-A177-3AD203B41FA5}">
                      <a16:colId xmlns:a16="http://schemas.microsoft.com/office/drawing/2014/main" val="321470422"/>
                    </a:ext>
                  </a:extLst>
                </a:gridCol>
                <a:gridCol w="1315452">
                  <a:extLst>
                    <a:ext uri="{9D8B030D-6E8A-4147-A177-3AD203B41FA5}">
                      <a16:colId xmlns:a16="http://schemas.microsoft.com/office/drawing/2014/main" val="244835461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3843269410"/>
                    </a:ext>
                  </a:extLst>
                </a:gridCol>
                <a:gridCol w="1788135">
                  <a:extLst>
                    <a:ext uri="{9D8B030D-6E8A-4147-A177-3AD203B41FA5}">
                      <a16:colId xmlns:a16="http://schemas.microsoft.com/office/drawing/2014/main" val="3997362660"/>
                    </a:ext>
                  </a:extLst>
                </a:gridCol>
                <a:gridCol w="1323472">
                  <a:extLst>
                    <a:ext uri="{9D8B030D-6E8A-4147-A177-3AD203B41FA5}">
                      <a16:colId xmlns:a16="http://schemas.microsoft.com/office/drawing/2014/main" val="1527375523"/>
                    </a:ext>
                  </a:extLst>
                </a:gridCol>
              </a:tblGrid>
              <a:tr h="708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ctivity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vanade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Application owne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Server owne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io Tinto Security  team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Ansible team</a:t>
                      </a:r>
                      <a:endParaRPr lang="en-AU" sz="1800" kern="12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584758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Inform Application/Server Owners about vulnerability pres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1332208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Conduct Technical and Impact assessment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5017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nitiate Change Request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880725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Run remediation on the server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234872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Perform System integration testing (SIT) 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16643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</a:rPr>
                        <a:t>Perform rollback if SIT failed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954233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kern="1200" dirty="0">
                          <a:solidFill>
                            <a:schemeClr val="tx1"/>
                          </a:solidFill>
                        </a:rPr>
                        <a:t>Mark server as remediated for this vulnerability if SIT is successful 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R, A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>
                          <a:solidFill>
                            <a:schemeClr val="tx1"/>
                          </a:solidFill>
                        </a:rPr>
                        <a:t>I</a:t>
                      </a:r>
                      <a:endParaRPr lang="en-AU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800" kern="1200" dirty="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A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5313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5462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Tracker (sample data)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165517"/>
              </p:ext>
            </p:extLst>
          </p:nvPr>
        </p:nvGraphicFramePr>
        <p:xfrm>
          <a:off x="1157176" y="1376314"/>
          <a:ext cx="8087489" cy="2834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24630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652631">
                  <a:extLst>
                    <a:ext uri="{9D8B030D-6E8A-4147-A177-3AD203B41FA5}">
                      <a16:colId xmlns:a16="http://schemas.microsoft.com/office/drawing/2014/main" val="189620947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3951712096"/>
                    </a:ext>
                  </a:extLst>
                </a:gridCol>
                <a:gridCol w="226502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1333847">
                  <a:extLst>
                    <a:ext uri="{9D8B030D-6E8A-4147-A177-3AD203B41FA5}">
                      <a16:colId xmlns:a16="http://schemas.microsoft.com/office/drawing/2014/main" val="420778884"/>
                    </a:ext>
                  </a:extLst>
                </a:gridCol>
              </a:tblGrid>
              <a:tr h="661820">
                <a:tc>
                  <a:txBody>
                    <a:bodyPr/>
                    <a:lstStyle/>
                    <a:p>
                      <a:r>
                        <a:rPr lang="en-AU" sz="2000"/>
                        <a:t>Change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Op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561692">
                <a:tc>
                  <a:txBody>
                    <a:bodyPr/>
                    <a:lstStyle/>
                    <a:p>
                      <a:r>
                        <a:rPr lang="en-AU"/>
                        <a:t>CRXXX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-Aug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Waiting for Appro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2258C8-6C3A-53EB-9186-4F2441367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485768"/>
              </p:ext>
            </p:extLst>
          </p:nvPr>
        </p:nvGraphicFramePr>
        <p:xfrm>
          <a:off x="3733102" y="4750167"/>
          <a:ext cx="3459549" cy="10972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1490">
                  <a:extLst>
                    <a:ext uri="{9D8B030D-6E8A-4147-A177-3AD203B41FA5}">
                      <a16:colId xmlns:a16="http://schemas.microsoft.com/office/drawing/2014/main" val="860285425"/>
                    </a:ext>
                  </a:extLst>
                </a:gridCol>
                <a:gridCol w="1058059">
                  <a:extLst>
                    <a:ext uri="{9D8B030D-6E8A-4147-A177-3AD203B41FA5}">
                      <a16:colId xmlns:a16="http://schemas.microsoft.com/office/drawing/2014/main" val="3437243603"/>
                    </a:ext>
                  </a:extLst>
                </a:gridCol>
              </a:tblGrid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Vulnerability Fix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6354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Schedul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673929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Waiting for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716553"/>
                  </a:ext>
                </a:extLst>
              </a:tr>
            </a:tbl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B0E6601-D796-4960-1750-63D184C62F26}"/>
              </a:ext>
            </a:extLst>
          </p:cNvPr>
          <p:cNvSpPr/>
          <p:nvPr/>
        </p:nvSpPr>
        <p:spPr>
          <a:xfrm>
            <a:off x="9756559" y="781235"/>
            <a:ext cx="2237173" cy="12162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/>
            <a:r>
              <a:rPr lang="en-AU" sz="1200"/>
              <a:t>Total = xx </a:t>
            </a:r>
          </a:p>
          <a:p>
            <a:pPr algn="r"/>
            <a:r>
              <a:rPr lang="en-AU" sz="1200"/>
              <a:t>Enterprise Rollout= xx</a:t>
            </a:r>
          </a:p>
          <a:p>
            <a:pPr algn="r"/>
            <a:r>
              <a:rPr lang="en-AU" sz="1200"/>
              <a:t>Pilot  Size= 50</a:t>
            </a:r>
          </a:p>
        </p:txBody>
      </p:sp>
    </p:spTree>
    <p:extLst>
      <p:ext uri="{BB962C8B-B14F-4D97-AF65-F5344CB8AC3E}">
        <p14:creationId xmlns:p14="http://schemas.microsoft.com/office/powerpoint/2010/main" val="392046689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65 Pilot Servers List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9B1502B-E235-F603-80EC-7E835C610A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102833"/>
              </p:ext>
            </p:extLst>
          </p:nvPr>
        </p:nvGraphicFramePr>
        <p:xfrm>
          <a:off x="381000" y="843378"/>
          <a:ext cx="10294400" cy="142784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105">
                  <a:extLst>
                    <a:ext uri="{9D8B030D-6E8A-4147-A177-3AD203B41FA5}">
                      <a16:colId xmlns:a16="http://schemas.microsoft.com/office/drawing/2014/main" val="1877866984"/>
                    </a:ext>
                  </a:extLst>
                </a:gridCol>
                <a:gridCol w="1509793">
                  <a:extLst>
                    <a:ext uri="{9D8B030D-6E8A-4147-A177-3AD203B41FA5}">
                      <a16:colId xmlns:a16="http://schemas.microsoft.com/office/drawing/2014/main" val="3819856125"/>
                    </a:ext>
                  </a:extLst>
                </a:gridCol>
                <a:gridCol w="1050449">
                  <a:extLst>
                    <a:ext uri="{9D8B030D-6E8A-4147-A177-3AD203B41FA5}">
                      <a16:colId xmlns:a16="http://schemas.microsoft.com/office/drawing/2014/main" val="2700461763"/>
                    </a:ext>
                  </a:extLst>
                </a:gridCol>
                <a:gridCol w="760006">
                  <a:extLst>
                    <a:ext uri="{9D8B030D-6E8A-4147-A177-3AD203B41FA5}">
                      <a16:colId xmlns:a16="http://schemas.microsoft.com/office/drawing/2014/main" val="3769129393"/>
                    </a:ext>
                  </a:extLst>
                </a:gridCol>
                <a:gridCol w="1700074">
                  <a:extLst>
                    <a:ext uri="{9D8B030D-6E8A-4147-A177-3AD203B41FA5}">
                      <a16:colId xmlns:a16="http://schemas.microsoft.com/office/drawing/2014/main" val="528122720"/>
                    </a:ext>
                  </a:extLst>
                </a:gridCol>
                <a:gridCol w="3271422">
                  <a:extLst>
                    <a:ext uri="{9D8B030D-6E8A-4147-A177-3AD203B41FA5}">
                      <a16:colId xmlns:a16="http://schemas.microsoft.com/office/drawing/2014/main" val="94284716"/>
                    </a:ext>
                  </a:extLst>
                </a:gridCol>
                <a:gridCol w="896644">
                  <a:extLst>
                    <a:ext uri="{9D8B030D-6E8A-4147-A177-3AD203B41FA5}">
                      <a16:colId xmlns:a16="http://schemas.microsoft.com/office/drawing/2014/main" val="2761434446"/>
                    </a:ext>
                  </a:extLst>
                </a:gridCol>
                <a:gridCol w="514907">
                  <a:extLst>
                    <a:ext uri="{9D8B030D-6E8A-4147-A177-3AD203B41FA5}">
                      <a16:colId xmlns:a16="http://schemas.microsoft.com/office/drawing/2014/main" val="962011051"/>
                    </a:ext>
                  </a:extLst>
                </a:gridCol>
              </a:tblGrid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Reg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Nam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Status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Criticalit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Own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lot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901558701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OVIIS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eh, Chia (Julian) (IST)</a:t>
                      </a:r>
                      <a:b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d Dor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Brad Dor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672117491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YDAPD129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nster, Alex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ly Forti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ois Lacomb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: New server required to host the Rio Tinto Group Risk Finance Website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Lily Fortin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ondary contact: Francois Lacomb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swami, Chaya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4721233"/>
                  </a:ext>
                </a:extLst>
              </a:tr>
              <a:tr h="105676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YDAPD3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ok, John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ow - Dev app Server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E: J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hn Brook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685705819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YDSQLD3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nster, Alex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2 Development SQL Server.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L not supported by Operations. Self-supported by BU.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alerting. Server self-supported by BU, not supported by Ops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694855709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WEIAPD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pic, Dzevad (IST-PAXUS)/Goody, Scott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ny Keehn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 AF and PI Vision Test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Tony Keehn (IST)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ondary Contact: Scott Good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50381597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APCQLK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Qlik replicat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063372522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C10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05343331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C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ODS / 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587784557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C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e, Brad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50543329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C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Data Mart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155890455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D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Dev Server - Role: ODS / 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754417490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D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Dev Server - Role: 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005330991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BYSQLD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Dev Server - Role: Data Mart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finch, Paul (RTA BBA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608273921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NEAPD100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adhya, Aravind (IST-ACCENTURE)/  Stewart, Sean </a:t>
                      </a:r>
                    </a:p>
                  </a:txBody>
                  <a:tcPr marL="5443" marR="5443" marT="544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server is built on a Dell Desktop and getting managed by local site people. For more information Stewart, Sean (PACE) &lt;Sean.Stewart@riotinto.com&gt; can be contacted. IST server team does not have any support scope for this system.</a:t>
                      </a:r>
                    </a:p>
                  </a:txBody>
                  <a:tcPr marL="5443" marR="5443" marT="5443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nbar, Paul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245512978"/>
                  </a:ext>
                </a:extLst>
              </a:tr>
              <a:tr h="105676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NEAPD2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l Henders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 of the follow-me printing suite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e Carl Henders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453591262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NEEXMB10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A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Henderson, Carl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Henderson, Carl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thiramalingam, Rajasekar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982784580"/>
                  </a:ext>
                </a:extLst>
              </a:tr>
              <a:tr h="105676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NEPRTD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: Carl Hendersen Troy Tuck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print server - part of the 'follow me printing' suite of servers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: Carl Hendersen Troy Tuck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965805749"/>
                  </a:ext>
                </a:extLst>
              </a:tr>
              <a:tr h="239759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NEVSD1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owmik, Monojit (IST-ACCENTURE)</a:t>
                      </a:r>
                    </a:p>
                  </a:txBody>
                  <a:tcPr marL="5443" marR="5443" marT="544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e: Virtual Host for Global SCCM Team Testing and development of SCCM. 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: Olivier Loess   for Iain Fairbairn- Global SCCM Team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Original Server was a Dell Physical Server (DRAC: 10.123.16.66), but that server crashed and IS&amp;T Server Team has built a VMWare VM, under CR CHG0098731.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VM is hosted in "Brisbane AAPT RTIO Cluster".</a:t>
                      </a:r>
                    </a:p>
                  </a:txBody>
                  <a:tcPr marL="5443" marR="5443" marT="5443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nbar, Paul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61648744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OYSQLC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Test Server - Role: ODP Data Mart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e, Brad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530816484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BOYSQLD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Dev Server - Role: ODP Datamart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e, Brad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152384065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PRAPD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s Ei Phyu Lwin and Luka Vranjkovic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msys Non Production Server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s Ei Phyu Lwin and Luka Vranjkovic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Support provided by Mermec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005106519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OVBUCVR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P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 : Moore, Derek (RTAGov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 : Moore, Derek (RTAGove)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s is part of the CommVault backups.  AUGOVBUCVR1 is  the redundant server AUGOVBUCV1 is the primar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833103812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OVSQLD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ations Data Platform (ODP) - Dev Server - Role: ODS/SSIS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71398424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OVSQLD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 Data Platform (ODP) - Dev Server - Role: Dmart SQL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Contacts: Geoff Wait, Vidya Thorby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Contacts: Garry Dixon, Anjana Sathy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321879238"/>
                  </a:ext>
                </a:extLst>
              </a:tr>
              <a:tr h="172718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MELAPD7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Shaun Davis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Role / Applications: Bentley Application Server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Shaun Davis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 of the TEST EDM (Engineering Data Management) platform based on the Bentley suite of products.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ts commercially sensitive data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218074585"/>
                  </a:ext>
                </a:extLst>
              </a:tr>
              <a:tr h="189478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MELSQLD59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Shaun Davis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Role / Applications: Bentley SQL Server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Shaun Davis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ame: T&amp;I Projects Delivery - Rajesh Sharma, Adam West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 of the TEST EDM (Engineering Data Management) platform based on the Bentley suite of products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968537735"/>
                  </a:ext>
                </a:extLst>
              </a:tr>
              <a:tr h="3068002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MELWEBD5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Shaun Davis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Role / Applications: Bently Web Server / Revs Bigscreen development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ame: T&amp;I Projects Delivery - Rajesh Sharma, Shaun Davis, Adam West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Shaun Davis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ame: RTIO Peter Zahos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ts commercially sensitive data.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 of the TEST EDM (Engineering Data Management) platform based on the Bentley suite of products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meti, Tarun (IST-ACCENTURE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069162060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1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dpi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 /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bau, Be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dpit VM for ETG which is part of RISE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: Riebau, Ben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Flex Movement Planner Server &amp; used by CFlex Electronic Train Graph Project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146258152"/>
                  </a:ext>
                </a:extLst>
              </a:tr>
              <a:tr h="2062385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1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ining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tson, Gregg (RTIO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Contact: Riebau, Be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 Contact: APAC Servers and Storage.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Kitson, Gregg (RTIO) </a:t>
                      </a: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Gregg.Kitson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VM for ETG which is part of RIS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Flex Movement Planner Server &amp; used by CFlex Electronic Train Graph Project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242748128"/>
                  </a:ext>
                </a:extLst>
              </a:tr>
              <a:tr h="373841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2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an,Pareek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hew,rundl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t under Demand DMND0270407 CHG0177370 INC3150815 RITM3480171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  Milan.Pareek@riotinto.com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 Application name associated with this server :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 processing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 NO backup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 Primary contact for severe reboot approval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lan Pareek -milan.pareek@riotinto.com / 0435281021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lan.pareek@riotinto.com and mathew.rundle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442951557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2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487400771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2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35584852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3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722214581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33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321128987"/>
                  </a:ext>
                </a:extLst>
              </a:tr>
              <a:tr h="105676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3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uglas,bellworth 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vor,gillmo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ND0271755 CHG0184611 RITM3999455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</a:t>
                      </a: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uglas.bellworth, trevor.gillmor</a:t>
                      </a: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0455239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3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Firth, Gary Pyk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request from Firth, Chris (IST)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details. Chris Firth, Gary Pyke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imary contact for severe reboot approval.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433559681"/>
                  </a:ext>
                </a:extLst>
              </a:tr>
              <a:tr h="79992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3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\Test Server Production Predictions and Evalution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577535412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53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niel Li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an,pareek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hew,rundl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anced Planning System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/Test Application Server 1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: Daniel Lie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an.pareek@riotinto.com and mathew.rundle@riotinto.co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823490285"/>
                  </a:ext>
                </a:extLst>
              </a:tr>
              <a:tr h="122437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5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bbs, David (RTIO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 Cairns, Bryce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anced Planning System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Application Server 2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Stubbs, David (RTIO) &lt;David.Stubbs@riotinto.com&gt;/ Cairns, Bryce (IST)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748872154"/>
                  </a:ext>
                </a:extLst>
              </a:tr>
              <a:tr h="4408825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6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 Johnson 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ul Crain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bis Durand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mble 4D Test Server and SQL Database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server will host the Trimble 4D application, which monitors the stability of the slopes in the pit and send alerts to users if a risk of failure is detected.   This is the Test Environment for Trimble 4D.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t Owner: Mark Piercy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 Contact: Albis Durand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 has been requested that theT4D Servers should have Paul Craine's name as the business owner of the server. Paul Craine is Mark Johnson's (current owner) superintendent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 Requestor: Mark Johnson to Requestor: Paul Crain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865221478"/>
                  </a:ext>
                </a:extLst>
              </a:tr>
              <a:tr h="105676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6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Product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lare Offn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ned under DMND0240916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: Clare Offner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850240113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6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Product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lare Offn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ned under DMND0240916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: 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: Clare Offn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009429981"/>
                  </a:ext>
                </a:extLst>
              </a:tr>
              <a:tr h="390601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6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Product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Book [RTIO]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 - This server will run automated scripts for other production server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server will act as a service worker for Bridgebook and a number of future applications that we are planning to migrate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segegates task that consumes higher resources (such as scripts, syncing, etc.) from the Production server which will affect other production service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-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-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Bridge Book [RTIO]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27922427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7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the Aquire test/dev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 Tim Balling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977210960"/>
                  </a:ext>
                </a:extLst>
              </a:tr>
              <a:tr h="2062385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7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Gupta, Goldy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BOC development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oned under DMND0240916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upta, Goldy (IST) &lt;Goldy.Gupta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: Bengani, Kritik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Originaly provisioned as RTIO Inflight V5 Development environment, retasked for VBOC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621009839"/>
                  </a:ext>
                </a:extLst>
              </a:tr>
              <a:tr h="57137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7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will be "kyle.mcdonald@riotinto.com"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601202661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19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2S test\build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757026377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ard.tucker3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for Ansible project team, PRC381, contact richard.tucker3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10178707"/>
                  </a:ext>
                </a:extLst>
              </a:tr>
              <a:tr h="72156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03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llinger, Tim (RTIO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Ballinger, Tim (RTIO)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Tim.Ballinger@riotinto.com&gt;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551964889"/>
                  </a:ext>
                </a:extLst>
              </a:tr>
              <a:tr h="733262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0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ND0272563 CHG0191151 RITM4468458 - DEV/PROD environment for RTIO Proof of Presence app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286587366"/>
                  </a:ext>
                </a:extLst>
              </a:tr>
              <a:tr h="239759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1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Clark, Amand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indary contact persons : Sandagsuren Batbaya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Now MID Server - Used by ServiceNow Discover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ND0273660 CHG0201833 RITM5046141 - Build Server - &lt;AUPERAPD212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contact person : Clark, Amand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indary contact persons : Sandagsuren Batbaya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ting location : AU-PER-BENTLEY-5WATTPL-DATACENTR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: ServiceNow DEV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626341459"/>
                  </a:ext>
                </a:extLst>
              </a:tr>
              <a:tr h="114274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27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11871828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2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/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165964175"/>
                  </a:ext>
                </a:extLst>
              </a:tr>
              <a:tr h="57137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60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725623078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26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384255589"/>
                  </a:ext>
                </a:extLst>
              </a:tr>
              <a:tr h="172718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7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: Deepa Balakrishnan, Mark Kinner, Mark Podmor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th TPPS Scheduler for Dev / Test of Production Server AUTPRAP5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: Deepa Balakrishnan, Mark Kinner, Mark Podmor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up Up to Tape DR Tier 6, No alerting requirements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529920789"/>
                  </a:ext>
                </a:extLst>
              </a:tr>
              <a:tr h="390601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78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Product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Book [RTIO]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 - This server will run automated scripts for other production server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server will act as a service worker for Bridgebook and a number of future applications that we are planning to migrate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segegates task that consumes higher resources (such as scripts, syncing, etc.) from the Production server which will affect other production service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- Shaune Mucaj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- 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- Bridge Book [RTIO]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pp, Beau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646628982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79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/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yce Cairns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il AP VM - Most likely Digital Brake Test Certificate (DBTC). - Dev Server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s: Bryce Cairns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009110314"/>
                  </a:ext>
                </a:extLst>
              </a:tr>
              <a:tr h="407361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8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Productio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elina Leong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neth Chia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ned under DMND0274309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development server  is for IOPS remediation Team  for fixing IOPS  related application 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POC - Deepa Balakrishna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or Name Angelina Leong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or Email angelina.leong@riotinto.com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horising Cost Centre 30062012OH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Angelina Leong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Kenneth Chia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isting RTTMS Primary Application CI to be linked RT PROJECTS - PRISMG2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771336855"/>
                  </a:ext>
                </a:extLst>
              </a:tr>
              <a:tr h="256519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9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s - Stephen Sakharov - Tracy Hage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ik, Martin (RTIO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Albis Durand; Hagan, Tracy (RTIO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 Server for testing of prod instance on AUPERAP94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CGIS - ER Mapper - GeoSAMBA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s - Stephen Sakharov - Tracy Hage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ik, Martin (RTIO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59912628"/>
                  </a:ext>
                </a:extLst>
              </a:tr>
              <a:tr h="3068002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APDR17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 Ballinger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the Aquire test/dev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 Tim Balling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a clone server for AUPERAPD171.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283433152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WEBD1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ao, Hans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ey, Sean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ao, Hans (IST) &lt;Hans.Gao@riotinto.com&gt;; Hoey, Sean (IST) &lt;Sean.Hoey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 Strategy Reporting Platform - oCIO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 web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ed up via SMVI and ag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421974715"/>
                  </a:ext>
                </a:extLst>
              </a:tr>
              <a:tr h="239759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PERWEBD12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ao, Hans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ey, Sean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 Strategy Reporting Platform - oCIO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ao, Hans (IST) &lt;Hans.Gao@riotinto.com&gt;; Hoey, Sean (IST) &lt;Sean.Hoey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 Web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ed up via SMVI and nbu agent.  SQL DB backed up via maint plans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amed from AUPERSQLD33.corp.riotinto.org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509711543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SCPDM10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gados, Peter (RTCMI) /Ranjay Dakhan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umentum IODMS Test Index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876681506"/>
                  </a:ext>
                </a:extLst>
              </a:tr>
              <a:tr h="72156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AC-W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RCBSQLDR1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BM Weighbridge DR and QA Database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banda, Elexander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602112654"/>
                  </a:ext>
                </a:extLst>
              </a:tr>
              <a:tr h="761831"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856330864"/>
                  </a:ext>
                </a:extLst>
              </a:tr>
              <a:tr h="390601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Book [RTIO]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 - This server will run automated scripts for other production server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server will act as a service worker for Bridgebook and a number of future applications that we are planning to migrate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segegates task that consumes higher resources (such as scripts, syncing, etc.) from the Production server which will affect other production service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-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-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Bridge Book [RTIO]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370821265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the Aquire test/dev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 Tim Balling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534449784"/>
                  </a:ext>
                </a:extLst>
              </a:tr>
              <a:tr h="2062385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Gupta, Goldy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BOC development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oned under DMND0240916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upta, Goldy (IST) &lt;Goldy.Gupta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: Bengani, Kritik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Originaly provisioned as RTIO Inflight V5 Development environment, retasked for VBOC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690262641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will be "kyle.mcdonald@riotinto.com"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121908590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2S test\build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540359780"/>
                  </a:ext>
                </a:extLst>
              </a:tr>
              <a:tr h="57137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ard.tucker3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for Ansible project team, PRC381, contact richard.tucker3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404376946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llinger, Tim (RTIO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FS2012 Staging/Test server as part of migration from RIOPERAPD16 (TFS2008) to AUPERAPF195 (TFS2019) migration.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is temporary and will be decommissioned post-migration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017122415"/>
                  </a:ext>
                </a:extLst>
              </a:tr>
              <a:tr h="76183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llinger, Tim (RTIO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Ballinger, Tim (RTIO)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Tim.Ballinger@riotinto.com&gt;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69859480"/>
                  </a:ext>
                </a:extLst>
              </a:tr>
              <a:tr h="76183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ND0272563 CHG0191151 RITM4468458 - DEV/PROD environment for RTIO Proof of Presence app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783588479"/>
                  </a:ext>
                </a:extLst>
              </a:tr>
              <a:tr h="239759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Clark, Amand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indary contact persons : Sandagsuren Batbaya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Now MID Server - Used by ServiceNow Discovery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ND0273660 CHG0201833 RITM5046141 - Build Server - &lt;AUPERAPD212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contact person : Clark, Amanda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indary contact persons : Sandagsuren Batbaya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ting location : AU-PER-BENTLEY-5WATTPL-DATACENTR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: ServiceNow DEV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971224962"/>
                  </a:ext>
                </a:extLst>
              </a:tr>
              <a:tr h="133320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538228512"/>
                  </a:ext>
                </a:extLst>
              </a:tr>
              <a:tr h="139197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/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ication owner - George.Lim2@riotinto.com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275304072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763470824"/>
                  </a:ext>
                </a:extLst>
              </a:tr>
              <a:tr h="55396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455417210"/>
                  </a:ext>
                </a:extLst>
              </a:tr>
              <a:tr h="172718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: Deepa Balakrishnan, Mark Kinner, Mark Podmor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th TPPS Scheduler for Dev / Test of Production Server AUTPRAP5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: Deepa Balakrishnan, Mark Kinner, Mark Podmore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up Up to Tape DR Tier 6, No alerting requirements.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852052025"/>
                  </a:ext>
                </a:extLst>
              </a:tr>
              <a:tr h="390601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e Mucaj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au Trepp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Book [RTIO]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 - This server will run automated scripts for other production server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server will act as a service worker for Bridgebook and a number of future applications that we are planning to migrate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segegates task that consumes higher resources (such as scripts, syncing, etc.) from the Production server which will affect other production services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- Shaune Mucaj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- Beau Trepp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- Bridge Book [RTIO]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pp, Beau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663307442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/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yce Cairns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il AP VM - Most likely Digital Brake Test Certificate (DBTC). - Dev Server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s: Bryce Cairns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544635280"/>
                  </a:ext>
                </a:extLst>
              </a:tr>
              <a:tr h="4073619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elina Leong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neth Chia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ssined under DMND0274309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development server  is for IOPS remediation Team  for fixing IOPS  related application 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POC - Deepa Balakrishna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or Name Angelina Leong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or Email angelina.leong@riotinto.com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horising Cost Centre 30062012OH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Contact Angelina Leong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Application Alternate Contact Kenneth Chia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isting RTTMS Primary Application CI to be linked RT PROJECTS - PRISMG2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151972052"/>
                  </a:ext>
                </a:extLst>
              </a:tr>
              <a:tr h="2565194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s - Stephen Sakharov - Tracy Hage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ik, Martin (RTIO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Albis Durand; Hagan, Tracy (RTIO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 Server for testing of prod instance on AUPERAP94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CGIS - ER Mapper - GeoSAMBA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dians - Stephen Sakharov - Tracy Hagen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ik, Martin (RTIO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993652762"/>
                  </a:ext>
                </a:extLst>
              </a:tr>
              <a:tr h="3068002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5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 Ballinger</a:t>
                      </a:r>
                      <a:b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the Aquire test/dev application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er Owner : Tim Balling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Green, Rob Bradbury, Daniel Pollock , Herbert Freytag, Matthew Fleming, John Usher, David Kucsai, Stephen Hall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a clone server for AUPERAPD171.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3374150607"/>
                  </a:ext>
                </a:extLst>
              </a:tr>
              <a:tr h="1559577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ao, Hans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ey, Sean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ao, Hans (IST) &lt;Hans.Gao@riotinto.com&gt;; Hoey, Sean (IST) &lt;Sean.Hoey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 Strategy Reporting Platform - oCIO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 web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ed up via SMVI and agent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4284214535"/>
                  </a:ext>
                </a:extLst>
              </a:tr>
              <a:tr h="2397591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ao, Hans (IST)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ey, Sean (IST) 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 Strategy Reporting Platform - oCIO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: Gao, Hans (IST) &lt;Hans.Gao@riotinto.com&gt;; Hoey, Sean (IST) &lt;Sean.Hoey@riotinto.com&gt;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 Web Server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ed up via SMVI and nbu agent.  SQL DB backed up via maint plans</a:t>
                      </a:r>
                      <a:b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amed from AUPERSQLD33.corp.riotinto.org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657600367"/>
                  </a:ext>
                </a:extLst>
              </a:tr>
              <a:tr h="889166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gados, Peter (RTCMI) /Ranjay Dakhane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umentum IODMS Test Index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435804727"/>
                  </a:ext>
                </a:extLst>
              </a:tr>
              <a:tr h="1727180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4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en Radhakrishnan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need this server temporarily for 3-6 months. This server will act as Assessment and Migration box, for the Home Drive to OneDrive  migration project. 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ry Contact Maden Radhakrishnan</a:t>
                      </a:r>
                      <a:b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ondary Contact Praveen Krishna Shetty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el, Frederick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236238169"/>
                  </a:ext>
                </a:extLst>
              </a:tr>
              <a:tr h="721563"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6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khane, Ranjay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BM Weighbridge DR and QA Database Server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banda, Elexander (IST)</a:t>
                      </a: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513341793"/>
                  </a:ext>
                </a:extLst>
              </a:tr>
              <a:tr h="218754"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anchor="b"/>
                </a:tc>
                <a:extLst>
                  <a:ext uri="{0D108BD9-81ED-4DB2-BD59-A6C34878D82A}">
                    <a16:rowId xmlns:a16="http://schemas.microsoft.com/office/drawing/2014/main" val="1088170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150022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7A66EC-61B8-48EB-9312-43547FE385F8}">
  <ds:schemaRefs>
    <ds:schemaRef ds:uri="a0a1764d-9f19-445a-8b95-79336f5e33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B9FAD-29D2-4ABD-B451-7F7D700C8D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28E0FA-7562-4859-A11C-420ACA25A119}">
  <ds:schemaRefs>
    <ds:schemaRef ds:uri="a0a1764d-9f19-445a-8b95-79336f5e3332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5491</Words>
  <Application>Microsoft Office PowerPoint</Application>
  <PresentationFormat>Widescreen</PresentationFormat>
  <Paragraphs>819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7" baseType="lpstr"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think-cell Slide</vt:lpstr>
      <vt:lpstr>PowerPoint Presentation</vt:lpstr>
      <vt:lpstr>Vulnerability I4.1 RDP Session timeout - Overview</vt:lpstr>
      <vt:lpstr>Remediation approach</vt:lpstr>
      <vt:lpstr>Communication - Scenarios</vt:lpstr>
      <vt:lpstr>Vulnerability I4.1 RDP Session timeout – Scope Definition</vt:lpstr>
      <vt:lpstr>RACI Matrix (to be updated)</vt:lpstr>
      <vt:lpstr>Tracker (sample data)</vt:lpstr>
      <vt:lpstr>65 Pilot Servers Li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Account Name, Sales Target $, Rev Growth %]</dc:title>
  <dc:subject/>
  <dc:creator>Lawrence Liang</dc:creator>
  <cp:keywords/>
  <dc:description/>
  <cp:lastModifiedBy>Alex Bondarenko</cp:lastModifiedBy>
  <cp:revision>1</cp:revision>
  <cp:lastPrinted>2021-07-26T23:22:19Z</cp:lastPrinted>
  <dcterms:created xsi:type="dcterms:W3CDTF">2020-06-29T05:59:53Z</dcterms:created>
  <dcterms:modified xsi:type="dcterms:W3CDTF">2022-08-10T03:30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ae8262-b78e-4366-8929-a5d6aac95320_Enabled">
    <vt:lpwstr>true</vt:lpwstr>
  </property>
  <property fmtid="{D5CDD505-2E9C-101B-9397-08002B2CF9AE}" pid="3" name="MSIP_Label_5fae8262-b78e-4366-8929-a5d6aac95320_SetDate">
    <vt:lpwstr>2020-06-29T06:00:16Z</vt:lpwstr>
  </property>
  <property fmtid="{D5CDD505-2E9C-101B-9397-08002B2CF9AE}" pid="4" name="MSIP_Label_5fae8262-b78e-4366-8929-a5d6aac95320_Method">
    <vt:lpwstr>Standard</vt:lpwstr>
  </property>
  <property fmtid="{D5CDD505-2E9C-101B-9397-08002B2CF9AE}" pid="5" name="MSIP_Label_5fae8262-b78e-4366-8929-a5d6aac95320_Name">
    <vt:lpwstr>5fae8262-b78e-4366-8929-a5d6aac95320</vt:lpwstr>
  </property>
  <property fmtid="{D5CDD505-2E9C-101B-9397-08002B2CF9AE}" pid="6" name="MSIP_Label_5fae8262-b78e-4366-8929-a5d6aac95320_SiteId">
    <vt:lpwstr>cf36141c-ddd7-45a7-b073-111f66d0b30c</vt:lpwstr>
  </property>
  <property fmtid="{D5CDD505-2E9C-101B-9397-08002B2CF9AE}" pid="7" name="MSIP_Label_5fae8262-b78e-4366-8929-a5d6aac95320_ActionId">
    <vt:lpwstr>dab819fe-54ab-434a-9bdf-ea2b5825fcfb</vt:lpwstr>
  </property>
  <property fmtid="{D5CDD505-2E9C-101B-9397-08002B2CF9AE}" pid="8" name="MSIP_Label_5fae8262-b78e-4366-8929-a5d6aac95320_ContentBits">
    <vt:lpwstr>0</vt:lpwstr>
  </property>
  <property fmtid="{D5CDD505-2E9C-101B-9397-08002B2CF9AE}" pid="9" name="ContentTypeId">
    <vt:lpwstr>0x010100DE1E2B39043C7E40952DF1086CF29555</vt:lpwstr>
  </property>
</Properties>
</file>